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2"/>
  </p:notesMasterIdLst>
  <p:sldIdLst>
    <p:sldId id="3058" r:id="rId2"/>
    <p:sldId id="3057" r:id="rId3"/>
    <p:sldId id="3053" r:id="rId4"/>
    <p:sldId id="279" r:id="rId5"/>
    <p:sldId id="271" r:id="rId6"/>
    <p:sldId id="274" r:id="rId7"/>
    <p:sldId id="3054" r:id="rId8"/>
    <p:sldId id="278" r:id="rId9"/>
    <p:sldId id="272" r:id="rId10"/>
    <p:sldId id="275" r:id="rId11"/>
    <p:sldId id="3055" r:id="rId12"/>
    <p:sldId id="276" r:id="rId13"/>
    <p:sldId id="273" r:id="rId14"/>
    <p:sldId id="3056" r:id="rId15"/>
    <p:sldId id="277" r:id="rId16"/>
    <p:sldId id="280" r:id="rId17"/>
    <p:sldId id="282" r:id="rId18"/>
    <p:sldId id="283" r:id="rId19"/>
    <p:sldId id="284" r:id="rId20"/>
    <p:sldId id="261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0000"/>
    <a:srgbClr val="9715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 l="-1483" t="-1482" r="2" b="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阿里巴巴普惠体" panose="00020600040101010101" pitchFamily="18" charset="-122"/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384301"/>
            <a:ext cx="10845798" cy="2273972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3429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046728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  <a:t>2021/1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任意多边形: 形状 36"/>
          <p:cNvSpPr/>
          <p:nvPr/>
        </p:nvSpPr>
        <p:spPr bwMode="auto">
          <a:xfrm>
            <a:off x="8428050" y="966926"/>
            <a:ext cx="1450842" cy="693639"/>
          </a:xfrm>
          <a:custGeom>
            <a:avLst/>
            <a:gdLst>
              <a:gd name="connsiteX0" fmla="*/ 42923 w 1450842"/>
              <a:gd name="connsiteY0" fmla="*/ 468316 h 693639"/>
              <a:gd name="connsiteX1" fmla="*/ 73698 w 1450842"/>
              <a:gd name="connsiteY1" fmla="*/ 475610 h 693639"/>
              <a:gd name="connsiteX2" fmla="*/ 378214 w 1450842"/>
              <a:gd name="connsiteY2" fmla="*/ 650682 h 693639"/>
              <a:gd name="connsiteX3" fmla="*/ 378214 w 1450842"/>
              <a:gd name="connsiteY3" fmla="*/ 686345 h 693639"/>
              <a:gd name="connsiteX4" fmla="*/ 316663 w 1450842"/>
              <a:gd name="connsiteY4" fmla="*/ 686345 h 693639"/>
              <a:gd name="connsiteX5" fmla="*/ 12147 w 1450842"/>
              <a:gd name="connsiteY5" fmla="*/ 511273 h 693639"/>
              <a:gd name="connsiteX6" fmla="*/ 12147 w 1450842"/>
              <a:gd name="connsiteY6" fmla="*/ 475610 h 693639"/>
              <a:gd name="connsiteX7" fmla="*/ 42923 w 1450842"/>
              <a:gd name="connsiteY7" fmla="*/ 468316 h 693639"/>
              <a:gd name="connsiteX8" fmla="*/ 512708 w 1450842"/>
              <a:gd name="connsiteY8" fmla="*/ 433374 h 693639"/>
              <a:gd name="connsiteX9" fmla="*/ 543373 w 1450842"/>
              <a:gd name="connsiteY9" fmla="*/ 440620 h 693639"/>
              <a:gd name="connsiteX10" fmla="*/ 611159 w 1450842"/>
              <a:gd name="connsiteY10" fmla="*/ 479264 h 693639"/>
              <a:gd name="connsiteX11" fmla="*/ 614387 w 1450842"/>
              <a:gd name="connsiteY11" fmla="*/ 479264 h 693639"/>
              <a:gd name="connsiteX12" fmla="*/ 643438 w 1450842"/>
              <a:gd name="connsiteY12" fmla="*/ 498586 h 693639"/>
              <a:gd name="connsiteX13" fmla="*/ 656350 w 1450842"/>
              <a:gd name="connsiteY13" fmla="*/ 514688 h 693639"/>
              <a:gd name="connsiteX14" fmla="*/ 643438 w 1450842"/>
              <a:gd name="connsiteY14" fmla="*/ 534010 h 693639"/>
              <a:gd name="connsiteX15" fmla="*/ 582108 w 1450842"/>
              <a:gd name="connsiteY15" fmla="*/ 534010 h 693639"/>
              <a:gd name="connsiteX16" fmla="*/ 482042 w 1450842"/>
              <a:gd name="connsiteY16" fmla="*/ 476044 h 693639"/>
              <a:gd name="connsiteX17" fmla="*/ 482042 w 1450842"/>
              <a:gd name="connsiteY17" fmla="*/ 440620 h 693639"/>
              <a:gd name="connsiteX18" fmla="*/ 512708 w 1450842"/>
              <a:gd name="connsiteY18" fmla="*/ 433374 h 693639"/>
              <a:gd name="connsiteX19" fmla="*/ 656422 w 1450842"/>
              <a:gd name="connsiteY19" fmla="*/ 361939 h 693639"/>
              <a:gd name="connsiteX20" fmla="*/ 688600 w 1450842"/>
              <a:gd name="connsiteY20" fmla="*/ 369191 h 693639"/>
              <a:gd name="connsiteX21" fmla="*/ 776581 w 1450842"/>
              <a:gd name="connsiteY21" fmla="*/ 420761 h 693639"/>
              <a:gd name="connsiteX22" fmla="*/ 776581 w 1450842"/>
              <a:gd name="connsiteY22" fmla="*/ 456215 h 693639"/>
              <a:gd name="connsiteX23" fmla="*/ 714669 w 1450842"/>
              <a:gd name="connsiteY23" fmla="*/ 456215 h 693639"/>
              <a:gd name="connsiteX24" fmla="*/ 626688 w 1450842"/>
              <a:gd name="connsiteY24" fmla="*/ 404645 h 693639"/>
              <a:gd name="connsiteX25" fmla="*/ 626688 w 1450842"/>
              <a:gd name="connsiteY25" fmla="*/ 369191 h 693639"/>
              <a:gd name="connsiteX26" fmla="*/ 656422 w 1450842"/>
              <a:gd name="connsiteY26" fmla="*/ 361939 h 693639"/>
              <a:gd name="connsiteX27" fmla="*/ 77685 w 1450842"/>
              <a:gd name="connsiteY27" fmla="*/ 333368 h 693639"/>
              <a:gd name="connsiteX28" fmla="*/ 109950 w 1450842"/>
              <a:gd name="connsiteY28" fmla="*/ 340633 h 693639"/>
              <a:gd name="connsiteX29" fmla="*/ 510041 w 1450842"/>
              <a:gd name="connsiteY29" fmla="*/ 573085 h 693639"/>
              <a:gd name="connsiteX30" fmla="*/ 510041 w 1450842"/>
              <a:gd name="connsiteY30" fmla="*/ 608599 h 693639"/>
              <a:gd name="connsiteX31" fmla="*/ 448737 w 1450842"/>
              <a:gd name="connsiteY31" fmla="*/ 608599 h 693639"/>
              <a:gd name="connsiteX32" fmla="*/ 45419 w 1450842"/>
              <a:gd name="connsiteY32" fmla="*/ 376146 h 693639"/>
              <a:gd name="connsiteX33" fmla="*/ 45419 w 1450842"/>
              <a:gd name="connsiteY33" fmla="*/ 340633 h 693639"/>
              <a:gd name="connsiteX34" fmla="*/ 77685 w 1450842"/>
              <a:gd name="connsiteY34" fmla="*/ 333368 h 693639"/>
              <a:gd name="connsiteX35" fmla="*/ 862058 w 1450842"/>
              <a:gd name="connsiteY35" fmla="*/ 177809 h 693639"/>
              <a:gd name="connsiteX36" fmla="*/ 892824 w 1450842"/>
              <a:gd name="connsiteY36" fmla="*/ 185119 h 693639"/>
              <a:gd name="connsiteX37" fmla="*/ 1041795 w 1450842"/>
              <a:gd name="connsiteY37" fmla="*/ 269588 h 693639"/>
              <a:gd name="connsiteX38" fmla="*/ 1041795 w 1450842"/>
              <a:gd name="connsiteY38" fmla="*/ 305326 h 693639"/>
              <a:gd name="connsiteX39" fmla="*/ 980263 w 1450842"/>
              <a:gd name="connsiteY39" fmla="*/ 305326 h 693639"/>
              <a:gd name="connsiteX40" fmla="*/ 831293 w 1450842"/>
              <a:gd name="connsiteY40" fmla="*/ 220856 h 693639"/>
              <a:gd name="connsiteX41" fmla="*/ 831293 w 1450842"/>
              <a:gd name="connsiteY41" fmla="*/ 185119 h 693639"/>
              <a:gd name="connsiteX42" fmla="*/ 862058 w 1450842"/>
              <a:gd name="connsiteY42" fmla="*/ 177809 h 693639"/>
              <a:gd name="connsiteX43" fmla="*/ 1053657 w 1450842"/>
              <a:gd name="connsiteY43" fmla="*/ 136515 h 693639"/>
              <a:gd name="connsiteX44" fmla="*/ 1083137 w 1450842"/>
              <a:gd name="connsiteY44" fmla="*/ 143771 h 693639"/>
              <a:gd name="connsiteX45" fmla="*/ 1173597 w 1450842"/>
              <a:gd name="connsiteY45" fmla="*/ 192140 h 693639"/>
              <a:gd name="connsiteX46" fmla="*/ 1173597 w 1450842"/>
              <a:gd name="connsiteY46" fmla="*/ 227610 h 693639"/>
              <a:gd name="connsiteX47" fmla="*/ 1112213 w 1450842"/>
              <a:gd name="connsiteY47" fmla="*/ 227610 h 693639"/>
              <a:gd name="connsiteX48" fmla="*/ 1021754 w 1450842"/>
              <a:gd name="connsiteY48" fmla="*/ 179241 h 693639"/>
              <a:gd name="connsiteX49" fmla="*/ 1021754 w 1450842"/>
              <a:gd name="connsiteY49" fmla="*/ 143771 h 693639"/>
              <a:gd name="connsiteX50" fmla="*/ 1053657 w 1450842"/>
              <a:gd name="connsiteY50" fmla="*/ 136515 h 693639"/>
              <a:gd name="connsiteX51" fmla="*/ 473096 w 1450842"/>
              <a:gd name="connsiteY51" fmla="*/ 103987 h 693639"/>
              <a:gd name="connsiteX52" fmla="*/ 503846 w 1450842"/>
              <a:gd name="connsiteY52" fmla="*/ 113671 h 693639"/>
              <a:gd name="connsiteX53" fmla="*/ 908453 w 1450842"/>
              <a:gd name="connsiteY53" fmla="*/ 346080 h 693639"/>
              <a:gd name="connsiteX54" fmla="*/ 908453 w 1450842"/>
              <a:gd name="connsiteY54" fmla="*/ 381587 h 693639"/>
              <a:gd name="connsiteX55" fmla="*/ 846953 w 1450842"/>
              <a:gd name="connsiteY55" fmla="*/ 381587 h 693639"/>
              <a:gd name="connsiteX56" fmla="*/ 442346 w 1450842"/>
              <a:gd name="connsiteY56" fmla="*/ 149178 h 693639"/>
              <a:gd name="connsiteX57" fmla="*/ 442346 w 1450842"/>
              <a:gd name="connsiteY57" fmla="*/ 113671 h 693639"/>
              <a:gd name="connsiteX58" fmla="*/ 473096 w 1450842"/>
              <a:gd name="connsiteY58" fmla="*/ 103987 h 693639"/>
              <a:gd name="connsiteX59" fmla="*/ 1376078 w 1450842"/>
              <a:gd name="connsiteY59" fmla="*/ 15882 h 693639"/>
              <a:gd name="connsiteX60" fmla="*/ 1406627 w 1450842"/>
              <a:gd name="connsiteY60" fmla="*/ 23188 h 693639"/>
              <a:gd name="connsiteX61" fmla="*/ 1438784 w 1450842"/>
              <a:gd name="connsiteY61" fmla="*/ 39424 h 693639"/>
              <a:gd name="connsiteX62" fmla="*/ 1438784 w 1450842"/>
              <a:gd name="connsiteY62" fmla="*/ 75143 h 693639"/>
              <a:gd name="connsiteX63" fmla="*/ 1374470 w 1450842"/>
              <a:gd name="connsiteY63" fmla="*/ 75143 h 693639"/>
              <a:gd name="connsiteX64" fmla="*/ 1345528 w 1450842"/>
              <a:gd name="connsiteY64" fmla="*/ 58907 h 693639"/>
              <a:gd name="connsiteX65" fmla="*/ 1345528 w 1450842"/>
              <a:gd name="connsiteY65" fmla="*/ 23188 h 693639"/>
              <a:gd name="connsiteX66" fmla="*/ 1376078 w 1450842"/>
              <a:gd name="connsiteY66" fmla="*/ 15882 h 693639"/>
              <a:gd name="connsiteX67" fmla="*/ 1087681 w 1450842"/>
              <a:gd name="connsiteY67" fmla="*/ 0 h 693639"/>
              <a:gd name="connsiteX68" fmla="*/ 1118529 w 1450842"/>
              <a:gd name="connsiteY68" fmla="*/ 7284 h 693639"/>
              <a:gd name="connsiteX69" fmla="*/ 1306864 w 1450842"/>
              <a:gd name="connsiteY69" fmla="*/ 117350 h 693639"/>
              <a:gd name="connsiteX70" fmla="*/ 1306864 w 1450842"/>
              <a:gd name="connsiteY70" fmla="*/ 152960 h 693639"/>
              <a:gd name="connsiteX71" fmla="*/ 1245168 w 1450842"/>
              <a:gd name="connsiteY71" fmla="*/ 152960 h 693639"/>
              <a:gd name="connsiteX72" fmla="*/ 1056833 w 1450842"/>
              <a:gd name="connsiteY72" fmla="*/ 42894 h 693639"/>
              <a:gd name="connsiteX73" fmla="*/ 1056833 w 1450842"/>
              <a:gd name="connsiteY73" fmla="*/ 7284 h 693639"/>
              <a:gd name="connsiteX74" fmla="*/ 1087681 w 1450842"/>
              <a:gd name="connsiteY74" fmla="*/ 0 h 6936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450842" h="693639">
                <a:moveTo>
                  <a:pt x="42923" y="468316"/>
                </a:moveTo>
                <a:cubicBezTo>
                  <a:pt x="54261" y="468316"/>
                  <a:pt x="65600" y="470747"/>
                  <a:pt x="73698" y="475610"/>
                </a:cubicBezTo>
                <a:cubicBezTo>
                  <a:pt x="73698" y="475610"/>
                  <a:pt x="73698" y="475610"/>
                  <a:pt x="378214" y="650682"/>
                </a:cubicBezTo>
                <a:cubicBezTo>
                  <a:pt x="394412" y="660408"/>
                  <a:pt x="394412" y="676619"/>
                  <a:pt x="378214" y="686345"/>
                </a:cubicBezTo>
                <a:cubicBezTo>
                  <a:pt x="362016" y="696071"/>
                  <a:pt x="332861" y="696071"/>
                  <a:pt x="316663" y="686345"/>
                </a:cubicBezTo>
                <a:cubicBezTo>
                  <a:pt x="316663" y="686345"/>
                  <a:pt x="316663" y="686345"/>
                  <a:pt x="12147" y="511273"/>
                </a:cubicBezTo>
                <a:cubicBezTo>
                  <a:pt x="-4050" y="501547"/>
                  <a:pt x="-4050" y="485336"/>
                  <a:pt x="12147" y="475610"/>
                </a:cubicBezTo>
                <a:cubicBezTo>
                  <a:pt x="20246" y="470747"/>
                  <a:pt x="31585" y="468316"/>
                  <a:pt x="42923" y="468316"/>
                </a:cubicBezTo>
                <a:close/>
                <a:moveTo>
                  <a:pt x="512708" y="433374"/>
                </a:moveTo>
                <a:cubicBezTo>
                  <a:pt x="524005" y="433374"/>
                  <a:pt x="535303" y="435790"/>
                  <a:pt x="543373" y="440620"/>
                </a:cubicBezTo>
                <a:cubicBezTo>
                  <a:pt x="543373" y="440620"/>
                  <a:pt x="543373" y="440620"/>
                  <a:pt x="611159" y="479264"/>
                </a:cubicBezTo>
                <a:cubicBezTo>
                  <a:pt x="611159" y="479264"/>
                  <a:pt x="611159" y="479264"/>
                  <a:pt x="614387" y="479264"/>
                </a:cubicBezTo>
                <a:cubicBezTo>
                  <a:pt x="614387" y="479264"/>
                  <a:pt x="614387" y="479264"/>
                  <a:pt x="643438" y="498586"/>
                </a:cubicBezTo>
                <a:cubicBezTo>
                  <a:pt x="653122" y="501807"/>
                  <a:pt x="656350" y="508247"/>
                  <a:pt x="656350" y="514688"/>
                </a:cubicBezTo>
                <a:cubicBezTo>
                  <a:pt x="656350" y="521129"/>
                  <a:pt x="653122" y="527569"/>
                  <a:pt x="643438" y="534010"/>
                </a:cubicBezTo>
                <a:cubicBezTo>
                  <a:pt x="627299" y="543671"/>
                  <a:pt x="598247" y="543671"/>
                  <a:pt x="582108" y="534010"/>
                </a:cubicBezTo>
                <a:cubicBezTo>
                  <a:pt x="582108" y="534010"/>
                  <a:pt x="582108" y="534010"/>
                  <a:pt x="482042" y="476044"/>
                </a:cubicBezTo>
                <a:cubicBezTo>
                  <a:pt x="462675" y="466383"/>
                  <a:pt x="462675" y="450281"/>
                  <a:pt x="482042" y="440620"/>
                </a:cubicBezTo>
                <a:cubicBezTo>
                  <a:pt x="490112" y="435790"/>
                  <a:pt x="501410" y="433374"/>
                  <a:pt x="512708" y="433374"/>
                </a:cubicBezTo>
                <a:close/>
                <a:moveTo>
                  <a:pt x="656422" y="361939"/>
                </a:moveTo>
                <a:cubicBezTo>
                  <a:pt x="667420" y="361939"/>
                  <a:pt x="678825" y="364357"/>
                  <a:pt x="688600" y="369191"/>
                </a:cubicBezTo>
                <a:cubicBezTo>
                  <a:pt x="688600" y="369191"/>
                  <a:pt x="688600" y="369191"/>
                  <a:pt x="776581" y="420761"/>
                </a:cubicBezTo>
                <a:cubicBezTo>
                  <a:pt x="792874" y="430430"/>
                  <a:pt x="792874" y="446546"/>
                  <a:pt x="776581" y="456215"/>
                </a:cubicBezTo>
                <a:cubicBezTo>
                  <a:pt x="760288" y="465884"/>
                  <a:pt x="730961" y="465884"/>
                  <a:pt x="714669" y="456215"/>
                </a:cubicBezTo>
                <a:cubicBezTo>
                  <a:pt x="714669" y="456215"/>
                  <a:pt x="714669" y="456215"/>
                  <a:pt x="626688" y="404645"/>
                </a:cubicBezTo>
                <a:cubicBezTo>
                  <a:pt x="607137" y="394976"/>
                  <a:pt x="607137" y="378861"/>
                  <a:pt x="626688" y="369191"/>
                </a:cubicBezTo>
                <a:cubicBezTo>
                  <a:pt x="634834" y="364357"/>
                  <a:pt x="645425" y="361939"/>
                  <a:pt x="656422" y="361939"/>
                </a:cubicBezTo>
                <a:close/>
                <a:moveTo>
                  <a:pt x="77685" y="333368"/>
                </a:moveTo>
                <a:cubicBezTo>
                  <a:pt x="88978" y="333368"/>
                  <a:pt x="100271" y="335790"/>
                  <a:pt x="109950" y="340633"/>
                </a:cubicBezTo>
                <a:cubicBezTo>
                  <a:pt x="109950" y="340633"/>
                  <a:pt x="109950" y="340633"/>
                  <a:pt x="510041" y="573085"/>
                </a:cubicBezTo>
                <a:cubicBezTo>
                  <a:pt x="526174" y="582771"/>
                  <a:pt x="526174" y="598913"/>
                  <a:pt x="510041" y="608599"/>
                </a:cubicBezTo>
                <a:cubicBezTo>
                  <a:pt x="493908" y="618284"/>
                  <a:pt x="464870" y="618284"/>
                  <a:pt x="448737" y="608599"/>
                </a:cubicBezTo>
                <a:cubicBezTo>
                  <a:pt x="448737" y="608599"/>
                  <a:pt x="448737" y="608599"/>
                  <a:pt x="45419" y="376146"/>
                </a:cubicBezTo>
                <a:cubicBezTo>
                  <a:pt x="29287" y="366461"/>
                  <a:pt x="29287" y="350318"/>
                  <a:pt x="45419" y="340633"/>
                </a:cubicBezTo>
                <a:cubicBezTo>
                  <a:pt x="55099" y="335790"/>
                  <a:pt x="66392" y="333368"/>
                  <a:pt x="77685" y="333368"/>
                </a:cubicBezTo>
                <a:close/>
                <a:moveTo>
                  <a:pt x="862058" y="177809"/>
                </a:moveTo>
                <a:cubicBezTo>
                  <a:pt x="873393" y="177809"/>
                  <a:pt x="884728" y="180245"/>
                  <a:pt x="892824" y="185119"/>
                </a:cubicBezTo>
                <a:cubicBezTo>
                  <a:pt x="892824" y="185119"/>
                  <a:pt x="892824" y="185119"/>
                  <a:pt x="1041795" y="269588"/>
                </a:cubicBezTo>
                <a:cubicBezTo>
                  <a:pt x="1057987" y="279335"/>
                  <a:pt x="1057987" y="295579"/>
                  <a:pt x="1041795" y="305326"/>
                </a:cubicBezTo>
                <a:cubicBezTo>
                  <a:pt x="1022364" y="315072"/>
                  <a:pt x="996456" y="315072"/>
                  <a:pt x="980263" y="305326"/>
                </a:cubicBezTo>
                <a:cubicBezTo>
                  <a:pt x="980263" y="305326"/>
                  <a:pt x="980263" y="305326"/>
                  <a:pt x="831293" y="220856"/>
                </a:cubicBezTo>
                <a:cubicBezTo>
                  <a:pt x="815100" y="211109"/>
                  <a:pt x="815100" y="194865"/>
                  <a:pt x="831293" y="185119"/>
                </a:cubicBezTo>
                <a:cubicBezTo>
                  <a:pt x="839389" y="180245"/>
                  <a:pt x="850724" y="177809"/>
                  <a:pt x="862058" y="177809"/>
                </a:cubicBezTo>
                <a:close/>
                <a:moveTo>
                  <a:pt x="1053657" y="136515"/>
                </a:moveTo>
                <a:cubicBezTo>
                  <a:pt x="1064561" y="136515"/>
                  <a:pt x="1075061" y="138934"/>
                  <a:pt x="1083137" y="143771"/>
                </a:cubicBezTo>
                <a:cubicBezTo>
                  <a:pt x="1083137" y="143771"/>
                  <a:pt x="1083137" y="143771"/>
                  <a:pt x="1173597" y="192140"/>
                </a:cubicBezTo>
                <a:cubicBezTo>
                  <a:pt x="1189750" y="201814"/>
                  <a:pt x="1189750" y="217937"/>
                  <a:pt x="1173597" y="227610"/>
                </a:cubicBezTo>
                <a:cubicBezTo>
                  <a:pt x="1154213" y="237284"/>
                  <a:pt x="1128367" y="237284"/>
                  <a:pt x="1112213" y="227610"/>
                </a:cubicBezTo>
                <a:cubicBezTo>
                  <a:pt x="1112213" y="227610"/>
                  <a:pt x="1112213" y="227610"/>
                  <a:pt x="1021754" y="179241"/>
                </a:cubicBezTo>
                <a:cubicBezTo>
                  <a:pt x="1005600" y="169567"/>
                  <a:pt x="1005600" y="153444"/>
                  <a:pt x="1021754" y="143771"/>
                </a:cubicBezTo>
                <a:cubicBezTo>
                  <a:pt x="1031446" y="138934"/>
                  <a:pt x="1042753" y="136515"/>
                  <a:pt x="1053657" y="136515"/>
                </a:cubicBezTo>
                <a:close/>
                <a:moveTo>
                  <a:pt x="473096" y="103987"/>
                </a:moveTo>
                <a:cubicBezTo>
                  <a:pt x="484425" y="103987"/>
                  <a:pt x="495754" y="107215"/>
                  <a:pt x="503846" y="113671"/>
                </a:cubicBezTo>
                <a:cubicBezTo>
                  <a:pt x="503846" y="113671"/>
                  <a:pt x="503846" y="113671"/>
                  <a:pt x="908453" y="346080"/>
                </a:cubicBezTo>
                <a:cubicBezTo>
                  <a:pt x="924637" y="355764"/>
                  <a:pt x="924637" y="371904"/>
                  <a:pt x="908453" y="381587"/>
                </a:cubicBezTo>
                <a:cubicBezTo>
                  <a:pt x="892269" y="391271"/>
                  <a:pt x="863137" y="391271"/>
                  <a:pt x="846953" y="381587"/>
                </a:cubicBezTo>
                <a:cubicBezTo>
                  <a:pt x="846953" y="381587"/>
                  <a:pt x="846953" y="381587"/>
                  <a:pt x="442346" y="149178"/>
                </a:cubicBezTo>
                <a:cubicBezTo>
                  <a:pt x="426162" y="136266"/>
                  <a:pt x="426162" y="123354"/>
                  <a:pt x="442346" y="113671"/>
                </a:cubicBezTo>
                <a:cubicBezTo>
                  <a:pt x="450438" y="107215"/>
                  <a:pt x="461767" y="103987"/>
                  <a:pt x="473096" y="103987"/>
                </a:cubicBezTo>
                <a:close/>
                <a:moveTo>
                  <a:pt x="1376078" y="15882"/>
                </a:moveTo>
                <a:cubicBezTo>
                  <a:pt x="1387333" y="15882"/>
                  <a:pt x="1398587" y="18318"/>
                  <a:pt x="1406627" y="23188"/>
                </a:cubicBezTo>
                <a:cubicBezTo>
                  <a:pt x="1406627" y="23188"/>
                  <a:pt x="1406627" y="23188"/>
                  <a:pt x="1438784" y="39424"/>
                </a:cubicBezTo>
                <a:cubicBezTo>
                  <a:pt x="1454862" y="49165"/>
                  <a:pt x="1454862" y="65401"/>
                  <a:pt x="1438784" y="75143"/>
                </a:cubicBezTo>
                <a:cubicBezTo>
                  <a:pt x="1419489" y="84884"/>
                  <a:pt x="1393764" y="84884"/>
                  <a:pt x="1374470" y="75143"/>
                </a:cubicBezTo>
                <a:cubicBezTo>
                  <a:pt x="1374470" y="75143"/>
                  <a:pt x="1374470" y="75143"/>
                  <a:pt x="1345528" y="58907"/>
                </a:cubicBezTo>
                <a:cubicBezTo>
                  <a:pt x="1329450" y="49165"/>
                  <a:pt x="1329450" y="32930"/>
                  <a:pt x="1345528" y="23188"/>
                </a:cubicBezTo>
                <a:cubicBezTo>
                  <a:pt x="1353568" y="18318"/>
                  <a:pt x="1364823" y="15882"/>
                  <a:pt x="1376078" y="15882"/>
                </a:cubicBezTo>
                <a:close/>
                <a:moveTo>
                  <a:pt x="1087681" y="0"/>
                </a:moveTo>
                <a:cubicBezTo>
                  <a:pt x="1099046" y="0"/>
                  <a:pt x="1110411" y="2428"/>
                  <a:pt x="1118529" y="7284"/>
                </a:cubicBezTo>
                <a:cubicBezTo>
                  <a:pt x="1118529" y="7284"/>
                  <a:pt x="1118529" y="7284"/>
                  <a:pt x="1306864" y="117350"/>
                </a:cubicBezTo>
                <a:cubicBezTo>
                  <a:pt x="1323100" y="127062"/>
                  <a:pt x="1323100" y="143248"/>
                  <a:pt x="1306864" y="152960"/>
                </a:cubicBezTo>
                <a:cubicBezTo>
                  <a:pt x="1287381" y="162672"/>
                  <a:pt x="1261404" y="162672"/>
                  <a:pt x="1245168" y="152960"/>
                </a:cubicBezTo>
                <a:cubicBezTo>
                  <a:pt x="1245168" y="152960"/>
                  <a:pt x="1245168" y="152960"/>
                  <a:pt x="1056833" y="42894"/>
                </a:cubicBezTo>
                <a:cubicBezTo>
                  <a:pt x="1037350" y="33182"/>
                  <a:pt x="1037350" y="16995"/>
                  <a:pt x="1056833" y="7284"/>
                </a:cubicBezTo>
                <a:cubicBezTo>
                  <a:pt x="1064951" y="2428"/>
                  <a:pt x="1076316" y="0"/>
                  <a:pt x="1087681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ea typeface="阿里巴巴普惠体" panose="00020600040101010101" pitchFamily="18" charset="-122"/>
            </a:endParaRPr>
          </a:p>
        </p:txBody>
      </p:sp>
      <p:sp>
        <p:nvSpPr>
          <p:cNvPr id="40" name="文本占位符 5"/>
          <p:cNvSpPr txBox="1"/>
          <p:nvPr/>
        </p:nvSpPr>
        <p:spPr>
          <a:xfrm>
            <a:off x="618164" y="4994784"/>
            <a:ext cx="3781305" cy="296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\    </a:t>
            </a:r>
            <a:r>
              <a:rPr lang="zh-CN" altLang="en-US" sz="200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汇报人：</a:t>
            </a:r>
            <a:r>
              <a:rPr lang="en-US" altLang="zh-CN" sz="200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xiazaii   \</a:t>
            </a:r>
            <a:endParaRPr lang="en-US" altLang="zh-CN" sz="2000" dirty="0">
              <a:solidFill>
                <a:srgbClr val="3C3C3C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41" name="文本占位符 6"/>
          <p:cNvSpPr txBox="1"/>
          <p:nvPr/>
        </p:nvSpPr>
        <p:spPr>
          <a:xfrm>
            <a:off x="618164" y="5496056"/>
            <a:ext cx="4367902" cy="296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\  </a:t>
            </a:r>
            <a:r>
              <a:rPr lang="zh-CN" altLang="en-US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日期：</a:t>
            </a:r>
            <a:r>
              <a:rPr lang="en-US" altLang="zh-CN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202X</a:t>
            </a:r>
            <a:r>
              <a:rPr lang="zh-CN" altLang="en-US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年</a:t>
            </a:r>
            <a:r>
              <a:rPr lang="en-US" altLang="zh-CN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12</a:t>
            </a:r>
            <a:r>
              <a:rPr lang="zh-CN" altLang="en-US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月</a:t>
            </a:r>
            <a:r>
              <a:rPr lang="en-US" altLang="zh-CN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30</a:t>
            </a:r>
            <a:r>
              <a:rPr lang="zh-CN" altLang="en-US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日</a:t>
            </a:r>
            <a:r>
              <a:rPr lang="en-US" altLang="zh-CN" sz="20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\</a:t>
            </a:r>
            <a:endParaRPr lang="en-US" altLang="en-US" sz="2000" dirty="0">
              <a:solidFill>
                <a:srgbClr val="3C3C3C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42" name="任意多边形: 形状 41"/>
          <p:cNvSpPr/>
          <p:nvPr/>
        </p:nvSpPr>
        <p:spPr bwMode="auto">
          <a:xfrm>
            <a:off x="9590324" y="4854023"/>
            <a:ext cx="1396128" cy="1037051"/>
          </a:xfrm>
          <a:custGeom>
            <a:avLst/>
            <a:gdLst>
              <a:gd name="connsiteX0" fmla="*/ 44017 w 1098401"/>
              <a:gd name="connsiteY0" fmla="*/ 714371 h 815898"/>
              <a:gd name="connsiteX1" fmla="*/ 73498 w 1098401"/>
              <a:gd name="connsiteY1" fmla="*/ 721623 h 815898"/>
              <a:gd name="connsiteX2" fmla="*/ 163957 w 1098401"/>
              <a:gd name="connsiteY2" fmla="*/ 773193 h 815898"/>
              <a:gd name="connsiteX3" fmla="*/ 163957 w 1098401"/>
              <a:gd name="connsiteY3" fmla="*/ 808647 h 815898"/>
              <a:gd name="connsiteX4" fmla="*/ 102574 w 1098401"/>
              <a:gd name="connsiteY4" fmla="*/ 808647 h 815898"/>
              <a:gd name="connsiteX5" fmla="*/ 12114 w 1098401"/>
              <a:gd name="connsiteY5" fmla="*/ 757077 h 815898"/>
              <a:gd name="connsiteX6" fmla="*/ 12114 w 1098401"/>
              <a:gd name="connsiteY6" fmla="*/ 721623 h 815898"/>
              <a:gd name="connsiteX7" fmla="*/ 44017 w 1098401"/>
              <a:gd name="connsiteY7" fmla="*/ 714371 h 815898"/>
              <a:gd name="connsiteX8" fmla="*/ 79304 w 1098401"/>
              <a:gd name="connsiteY8" fmla="*/ 581033 h 815898"/>
              <a:gd name="connsiteX9" fmla="*/ 109986 w 1098401"/>
              <a:gd name="connsiteY9" fmla="*/ 588320 h 815898"/>
              <a:gd name="connsiteX10" fmla="*/ 294081 w 1098401"/>
              <a:gd name="connsiteY10" fmla="*/ 695190 h 815898"/>
              <a:gd name="connsiteX11" fmla="*/ 294081 w 1098401"/>
              <a:gd name="connsiteY11" fmla="*/ 730814 h 815898"/>
              <a:gd name="connsiteX12" fmla="*/ 232716 w 1098401"/>
              <a:gd name="connsiteY12" fmla="*/ 730814 h 815898"/>
              <a:gd name="connsiteX13" fmla="*/ 48621 w 1098401"/>
              <a:gd name="connsiteY13" fmla="*/ 623943 h 815898"/>
              <a:gd name="connsiteX14" fmla="*/ 48621 w 1098401"/>
              <a:gd name="connsiteY14" fmla="*/ 588320 h 815898"/>
              <a:gd name="connsiteX15" fmla="*/ 79304 w 1098401"/>
              <a:gd name="connsiteY15" fmla="*/ 581033 h 815898"/>
              <a:gd name="connsiteX16" fmla="*/ 440112 w 1098401"/>
              <a:gd name="connsiteY16" fmla="*/ 484184 h 815898"/>
              <a:gd name="connsiteX17" fmla="*/ 472015 w 1098401"/>
              <a:gd name="connsiteY17" fmla="*/ 491436 h 815898"/>
              <a:gd name="connsiteX18" fmla="*/ 559244 w 1098401"/>
              <a:gd name="connsiteY18" fmla="*/ 543006 h 815898"/>
              <a:gd name="connsiteX19" fmla="*/ 559244 w 1098401"/>
              <a:gd name="connsiteY19" fmla="*/ 578460 h 815898"/>
              <a:gd name="connsiteX20" fmla="*/ 497861 w 1098401"/>
              <a:gd name="connsiteY20" fmla="*/ 578460 h 815898"/>
              <a:gd name="connsiteX21" fmla="*/ 410632 w 1098401"/>
              <a:gd name="connsiteY21" fmla="*/ 526890 h 815898"/>
              <a:gd name="connsiteX22" fmla="*/ 410632 w 1098401"/>
              <a:gd name="connsiteY22" fmla="*/ 491436 h 815898"/>
              <a:gd name="connsiteX23" fmla="*/ 440112 w 1098401"/>
              <a:gd name="connsiteY23" fmla="*/ 484184 h 815898"/>
              <a:gd name="connsiteX24" fmla="*/ 80451 w 1098401"/>
              <a:gd name="connsiteY24" fmla="*/ 430206 h 815898"/>
              <a:gd name="connsiteX25" fmla="*/ 109882 w 1098401"/>
              <a:gd name="connsiteY25" fmla="*/ 437446 h 815898"/>
              <a:gd name="connsiteX26" fmla="*/ 390492 w 1098401"/>
              <a:gd name="connsiteY26" fmla="*/ 598341 h 815898"/>
              <a:gd name="connsiteX27" fmla="*/ 396943 w 1098401"/>
              <a:gd name="connsiteY27" fmla="*/ 601559 h 815898"/>
              <a:gd name="connsiteX28" fmla="*/ 425971 w 1098401"/>
              <a:gd name="connsiteY28" fmla="*/ 620866 h 815898"/>
              <a:gd name="connsiteX29" fmla="*/ 438873 w 1098401"/>
              <a:gd name="connsiteY29" fmla="*/ 636956 h 815898"/>
              <a:gd name="connsiteX30" fmla="*/ 425971 w 1098401"/>
              <a:gd name="connsiteY30" fmla="*/ 656263 h 815898"/>
              <a:gd name="connsiteX31" fmla="*/ 364689 w 1098401"/>
              <a:gd name="connsiteY31" fmla="*/ 656263 h 815898"/>
              <a:gd name="connsiteX32" fmla="*/ 48600 w 1098401"/>
              <a:gd name="connsiteY32" fmla="*/ 472843 h 815898"/>
              <a:gd name="connsiteX33" fmla="*/ 48600 w 1098401"/>
              <a:gd name="connsiteY33" fmla="*/ 437446 h 815898"/>
              <a:gd name="connsiteX34" fmla="*/ 80451 w 1098401"/>
              <a:gd name="connsiteY34" fmla="*/ 430206 h 815898"/>
              <a:gd name="connsiteX35" fmla="*/ 473004 w 1098401"/>
              <a:gd name="connsiteY35" fmla="*/ 352432 h 815898"/>
              <a:gd name="connsiteX36" fmla="*/ 503686 w 1098401"/>
              <a:gd name="connsiteY36" fmla="*/ 359716 h 815898"/>
              <a:gd name="connsiteX37" fmla="*/ 691012 w 1098401"/>
              <a:gd name="connsiteY37" fmla="*/ 469783 h 815898"/>
              <a:gd name="connsiteX38" fmla="*/ 691012 w 1098401"/>
              <a:gd name="connsiteY38" fmla="*/ 505392 h 815898"/>
              <a:gd name="connsiteX39" fmla="*/ 629647 w 1098401"/>
              <a:gd name="connsiteY39" fmla="*/ 505392 h 815898"/>
              <a:gd name="connsiteX40" fmla="*/ 442321 w 1098401"/>
              <a:gd name="connsiteY40" fmla="*/ 395326 h 815898"/>
              <a:gd name="connsiteX41" fmla="*/ 442321 w 1098401"/>
              <a:gd name="connsiteY41" fmla="*/ 359716 h 815898"/>
              <a:gd name="connsiteX42" fmla="*/ 473004 w 1098401"/>
              <a:gd name="connsiteY42" fmla="*/ 352432 h 815898"/>
              <a:gd name="connsiteX43" fmla="*/ 644582 w 1098401"/>
              <a:gd name="connsiteY43" fmla="*/ 300054 h 815898"/>
              <a:gd name="connsiteX44" fmla="*/ 675347 w 1098401"/>
              <a:gd name="connsiteY44" fmla="*/ 307364 h 815898"/>
              <a:gd name="connsiteX45" fmla="*/ 821079 w 1098401"/>
              <a:gd name="connsiteY45" fmla="*/ 391833 h 815898"/>
              <a:gd name="connsiteX46" fmla="*/ 821079 w 1098401"/>
              <a:gd name="connsiteY46" fmla="*/ 427571 h 815898"/>
              <a:gd name="connsiteX47" fmla="*/ 759548 w 1098401"/>
              <a:gd name="connsiteY47" fmla="*/ 427571 h 815898"/>
              <a:gd name="connsiteX48" fmla="*/ 613816 w 1098401"/>
              <a:gd name="connsiteY48" fmla="*/ 343101 h 815898"/>
              <a:gd name="connsiteX49" fmla="*/ 613816 w 1098401"/>
              <a:gd name="connsiteY49" fmla="*/ 307364 h 815898"/>
              <a:gd name="connsiteX50" fmla="*/ 644582 w 1098401"/>
              <a:gd name="connsiteY50" fmla="*/ 300054 h 815898"/>
              <a:gd name="connsiteX51" fmla="*/ 620219 w 1098401"/>
              <a:gd name="connsiteY51" fmla="*/ 131773 h 815898"/>
              <a:gd name="connsiteX52" fmla="*/ 649662 w 1098401"/>
              <a:gd name="connsiteY52" fmla="*/ 139065 h 815898"/>
              <a:gd name="connsiteX53" fmla="*/ 952965 w 1098401"/>
              <a:gd name="connsiteY53" fmla="*/ 314087 h 815898"/>
              <a:gd name="connsiteX54" fmla="*/ 952965 w 1098401"/>
              <a:gd name="connsiteY54" fmla="*/ 349740 h 815898"/>
              <a:gd name="connsiteX55" fmla="*/ 891659 w 1098401"/>
              <a:gd name="connsiteY55" fmla="*/ 349740 h 815898"/>
              <a:gd name="connsiteX56" fmla="*/ 588356 w 1098401"/>
              <a:gd name="connsiteY56" fmla="*/ 174718 h 815898"/>
              <a:gd name="connsiteX57" fmla="*/ 588356 w 1098401"/>
              <a:gd name="connsiteY57" fmla="*/ 139065 h 815898"/>
              <a:gd name="connsiteX58" fmla="*/ 620219 w 1098401"/>
              <a:gd name="connsiteY58" fmla="*/ 131773 h 815898"/>
              <a:gd name="connsiteX59" fmla="*/ 654088 w 1098401"/>
              <a:gd name="connsiteY59" fmla="*/ 0 h 815898"/>
              <a:gd name="connsiteX60" fmla="*/ 684842 w 1098401"/>
              <a:gd name="connsiteY60" fmla="*/ 7264 h 815898"/>
              <a:gd name="connsiteX61" fmla="*/ 1086262 w 1098401"/>
              <a:gd name="connsiteY61" fmla="*/ 239717 h 815898"/>
              <a:gd name="connsiteX62" fmla="*/ 1086262 w 1098401"/>
              <a:gd name="connsiteY62" fmla="*/ 275230 h 815898"/>
              <a:gd name="connsiteX63" fmla="*/ 1024754 w 1098401"/>
              <a:gd name="connsiteY63" fmla="*/ 275230 h 815898"/>
              <a:gd name="connsiteX64" fmla="*/ 623335 w 1098401"/>
              <a:gd name="connsiteY64" fmla="*/ 42778 h 815898"/>
              <a:gd name="connsiteX65" fmla="*/ 623335 w 1098401"/>
              <a:gd name="connsiteY65" fmla="*/ 7264 h 815898"/>
              <a:gd name="connsiteX66" fmla="*/ 654088 w 1098401"/>
              <a:gd name="connsiteY66" fmla="*/ 0 h 815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98401" h="815898">
                <a:moveTo>
                  <a:pt x="44017" y="714371"/>
                </a:moveTo>
                <a:cubicBezTo>
                  <a:pt x="54921" y="714371"/>
                  <a:pt x="65421" y="716789"/>
                  <a:pt x="73498" y="721623"/>
                </a:cubicBezTo>
                <a:cubicBezTo>
                  <a:pt x="73498" y="721623"/>
                  <a:pt x="73498" y="721623"/>
                  <a:pt x="163957" y="773193"/>
                </a:cubicBezTo>
                <a:cubicBezTo>
                  <a:pt x="180111" y="782862"/>
                  <a:pt x="180111" y="798978"/>
                  <a:pt x="163957" y="808647"/>
                </a:cubicBezTo>
                <a:cubicBezTo>
                  <a:pt x="144573" y="818316"/>
                  <a:pt x="118727" y="818316"/>
                  <a:pt x="102574" y="808647"/>
                </a:cubicBezTo>
                <a:cubicBezTo>
                  <a:pt x="102574" y="808647"/>
                  <a:pt x="102574" y="808647"/>
                  <a:pt x="12114" y="757077"/>
                </a:cubicBezTo>
                <a:cubicBezTo>
                  <a:pt x="-4039" y="747408"/>
                  <a:pt x="-4039" y="731293"/>
                  <a:pt x="12114" y="721623"/>
                </a:cubicBezTo>
                <a:cubicBezTo>
                  <a:pt x="21806" y="716789"/>
                  <a:pt x="33114" y="714371"/>
                  <a:pt x="44017" y="714371"/>
                </a:cubicBezTo>
                <a:close/>
                <a:moveTo>
                  <a:pt x="79304" y="581033"/>
                </a:moveTo>
                <a:cubicBezTo>
                  <a:pt x="90608" y="581033"/>
                  <a:pt x="101912" y="583462"/>
                  <a:pt x="109986" y="588320"/>
                </a:cubicBezTo>
                <a:cubicBezTo>
                  <a:pt x="109986" y="588320"/>
                  <a:pt x="109986" y="588320"/>
                  <a:pt x="294081" y="695190"/>
                </a:cubicBezTo>
                <a:cubicBezTo>
                  <a:pt x="313460" y="704906"/>
                  <a:pt x="313460" y="721098"/>
                  <a:pt x="294081" y="730814"/>
                </a:cubicBezTo>
                <a:cubicBezTo>
                  <a:pt x="277933" y="740529"/>
                  <a:pt x="252095" y="740529"/>
                  <a:pt x="232716" y="730814"/>
                </a:cubicBezTo>
                <a:cubicBezTo>
                  <a:pt x="232716" y="730814"/>
                  <a:pt x="232716" y="730814"/>
                  <a:pt x="48621" y="623943"/>
                </a:cubicBezTo>
                <a:cubicBezTo>
                  <a:pt x="32473" y="614228"/>
                  <a:pt x="32473" y="598035"/>
                  <a:pt x="48621" y="588320"/>
                </a:cubicBezTo>
                <a:cubicBezTo>
                  <a:pt x="56696" y="583462"/>
                  <a:pt x="68000" y="581033"/>
                  <a:pt x="79304" y="581033"/>
                </a:cubicBezTo>
                <a:close/>
                <a:moveTo>
                  <a:pt x="440112" y="484184"/>
                </a:moveTo>
                <a:cubicBezTo>
                  <a:pt x="451016" y="484184"/>
                  <a:pt x="462323" y="486602"/>
                  <a:pt x="472015" y="491436"/>
                </a:cubicBezTo>
                <a:cubicBezTo>
                  <a:pt x="472015" y="491436"/>
                  <a:pt x="472015" y="491436"/>
                  <a:pt x="559244" y="543006"/>
                </a:cubicBezTo>
                <a:cubicBezTo>
                  <a:pt x="575398" y="552675"/>
                  <a:pt x="575398" y="568791"/>
                  <a:pt x="559244" y="578460"/>
                </a:cubicBezTo>
                <a:cubicBezTo>
                  <a:pt x="543091" y="588129"/>
                  <a:pt x="514014" y="588129"/>
                  <a:pt x="497861" y="578460"/>
                </a:cubicBezTo>
                <a:cubicBezTo>
                  <a:pt x="497861" y="578460"/>
                  <a:pt x="497861" y="578460"/>
                  <a:pt x="410632" y="526890"/>
                </a:cubicBezTo>
                <a:cubicBezTo>
                  <a:pt x="391248" y="517221"/>
                  <a:pt x="391248" y="501106"/>
                  <a:pt x="410632" y="491436"/>
                </a:cubicBezTo>
                <a:cubicBezTo>
                  <a:pt x="418709" y="486602"/>
                  <a:pt x="429208" y="484184"/>
                  <a:pt x="440112" y="484184"/>
                </a:cubicBezTo>
                <a:close/>
                <a:moveTo>
                  <a:pt x="80451" y="430206"/>
                </a:moveTo>
                <a:cubicBezTo>
                  <a:pt x="91336" y="430206"/>
                  <a:pt x="101819" y="432619"/>
                  <a:pt x="109882" y="437446"/>
                </a:cubicBezTo>
                <a:cubicBezTo>
                  <a:pt x="109882" y="437446"/>
                  <a:pt x="109882" y="437446"/>
                  <a:pt x="390492" y="598341"/>
                </a:cubicBezTo>
                <a:cubicBezTo>
                  <a:pt x="393717" y="601559"/>
                  <a:pt x="393717" y="601559"/>
                  <a:pt x="396943" y="601559"/>
                </a:cubicBezTo>
                <a:cubicBezTo>
                  <a:pt x="396943" y="601559"/>
                  <a:pt x="396943" y="601559"/>
                  <a:pt x="425971" y="620866"/>
                </a:cubicBezTo>
                <a:cubicBezTo>
                  <a:pt x="435647" y="624084"/>
                  <a:pt x="438873" y="630520"/>
                  <a:pt x="438873" y="636956"/>
                </a:cubicBezTo>
                <a:cubicBezTo>
                  <a:pt x="438873" y="643392"/>
                  <a:pt x="435647" y="649828"/>
                  <a:pt x="425971" y="656263"/>
                </a:cubicBezTo>
                <a:cubicBezTo>
                  <a:pt x="409844" y="665917"/>
                  <a:pt x="380816" y="665917"/>
                  <a:pt x="364689" y="656263"/>
                </a:cubicBezTo>
                <a:cubicBezTo>
                  <a:pt x="364689" y="656263"/>
                  <a:pt x="364689" y="656263"/>
                  <a:pt x="48600" y="472843"/>
                </a:cubicBezTo>
                <a:cubicBezTo>
                  <a:pt x="32473" y="463189"/>
                  <a:pt x="32473" y="447100"/>
                  <a:pt x="48600" y="437446"/>
                </a:cubicBezTo>
                <a:cubicBezTo>
                  <a:pt x="58276" y="432619"/>
                  <a:pt x="69565" y="430206"/>
                  <a:pt x="80451" y="430206"/>
                </a:cubicBezTo>
                <a:close/>
                <a:moveTo>
                  <a:pt x="473004" y="352432"/>
                </a:moveTo>
                <a:cubicBezTo>
                  <a:pt x="484308" y="352432"/>
                  <a:pt x="495612" y="354860"/>
                  <a:pt x="503686" y="359716"/>
                </a:cubicBezTo>
                <a:cubicBezTo>
                  <a:pt x="503686" y="359716"/>
                  <a:pt x="503686" y="359716"/>
                  <a:pt x="691012" y="469783"/>
                </a:cubicBezTo>
                <a:cubicBezTo>
                  <a:pt x="707160" y="479494"/>
                  <a:pt x="707160" y="495681"/>
                  <a:pt x="691012" y="505392"/>
                </a:cubicBezTo>
                <a:cubicBezTo>
                  <a:pt x="671633" y="515104"/>
                  <a:pt x="645795" y="515104"/>
                  <a:pt x="629647" y="505392"/>
                </a:cubicBezTo>
                <a:cubicBezTo>
                  <a:pt x="629647" y="505392"/>
                  <a:pt x="629647" y="505392"/>
                  <a:pt x="442321" y="395326"/>
                </a:cubicBezTo>
                <a:cubicBezTo>
                  <a:pt x="426173" y="385614"/>
                  <a:pt x="426173" y="369428"/>
                  <a:pt x="442321" y="359716"/>
                </a:cubicBezTo>
                <a:cubicBezTo>
                  <a:pt x="450396" y="354860"/>
                  <a:pt x="461700" y="352432"/>
                  <a:pt x="473004" y="352432"/>
                </a:cubicBezTo>
                <a:close/>
                <a:moveTo>
                  <a:pt x="644582" y="300054"/>
                </a:moveTo>
                <a:cubicBezTo>
                  <a:pt x="655916" y="300054"/>
                  <a:pt x="667251" y="302490"/>
                  <a:pt x="675347" y="307364"/>
                </a:cubicBezTo>
                <a:cubicBezTo>
                  <a:pt x="675347" y="307364"/>
                  <a:pt x="675347" y="307364"/>
                  <a:pt x="821079" y="391833"/>
                </a:cubicBezTo>
                <a:cubicBezTo>
                  <a:pt x="840510" y="401580"/>
                  <a:pt x="840510" y="417824"/>
                  <a:pt x="821079" y="427571"/>
                </a:cubicBezTo>
                <a:cubicBezTo>
                  <a:pt x="804887" y="437317"/>
                  <a:pt x="778979" y="437317"/>
                  <a:pt x="759548" y="427571"/>
                </a:cubicBezTo>
                <a:cubicBezTo>
                  <a:pt x="759548" y="427571"/>
                  <a:pt x="759548" y="427571"/>
                  <a:pt x="613816" y="343101"/>
                </a:cubicBezTo>
                <a:cubicBezTo>
                  <a:pt x="597623" y="333354"/>
                  <a:pt x="597623" y="317110"/>
                  <a:pt x="613816" y="307364"/>
                </a:cubicBezTo>
                <a:cubicBezTo>
                  <a:pt x="621912" y="302490"/>
                  <a:pt x="633247" y="300054"/>
                  <a:pt x="644582" y="300054"/>
                </a:cubicBezTo>
                <a:close/>
                <a:moveTo>
                  <a:pt x="620219" y="131773"/>
                </a:moveTo>
                <a:cubicBezTo>
                  <a:pt x="631109" y="131773"/>
                  <a:pt x="641596" y="134204"/>
                  <a:pt x="649662" y="139065"/>
                </a:cubicBezTo>
                <a:cubicBezTo>
                  <a:pt x="649662" y="139065"/>
                  <a:pt x="649662" y="139065"/>
                  <a:pt x="952965" y="314087"/>
                </a:cubicBezTo>
                <a:cubicBezTo>
                  <a:pt x="969098" y="327052"/>
                  <a:pt x="969098" y="340016"/>
                  <a:pt x="952965" y="349740"/>
                </a:cubicBezTo>
                <a:cubicBezTo>
                  <a:pt x="936832" y="362704"/>
                  <a:pt x="907792" y="362704"/>
                  <a:pt x="891659" y="349740"/>
                </a:cubicBezTo>
                <a:cubicBezTo>
                  <a:pt x="891659" y="349740"/>
                  <a:pt x="891659" y="349740"/>
                  <a:pt x="588356" y="174718"/>
                </a:cubicBezTo>
                <a:cubicBezTo>
                  <a:pt x="572223" y="164994"/>
                  <a:pt x="572223" y="148789"/>
                  <a:pt x="588356" y="139065"/>
                </a:cubicBezTo>
                <a:cubicBezTo>
                  <a:pt x="598036" y="134204"/>
                  <a:pt x="609329" y="131773"/>
                  <a:pt x="620219" y="131773"/>
                </a:cubicBezTo>
                <a:close/>
                <a:moveTo>
                  <a:pt x="654088" y="0"/>
                </a:moveTo>
                <a:cubicBezTo>
                  <a:pt x="665419" y="0"/>
                  <a:pt x="676749" y="2422"/>
                  <a:pt x="684842" y="7264"/>
                </a:cubicBezTo>
                <a:cubicBezTo>
                  <a:pt x="684842" y="7264"/>
                  <a:pt x="684842" y="7264"/>
                  <a:pt x="1086262" y="239717"/>
                </a:cubicBezTo>
                <a:cubicBezTo>
                  <a:pt x="1102448" y="249402"/>
                  <a:pt x="1102448" y="265545"/>
                  <a:pt x="1086262" y="275230"/>
                </a:cubicBezTo>
                <a:cubicBezTo>
                  <a:pt x="1070076" y="284916"/>
                  <a:pt x="1040940" y="284916"/>
                  <a:pt x="1024754" y="275230"/>
                </a:cubicBezTo>
                <a:cubicBezTo>
                  <a:pt x="1024754" y="275230"/>
                  <a:pt x="1024754" y="275230"/>
                  <a:pt x="623335" y="42778"/>
                </a:cubicBezTo>
                <a:cubicBezTo>
                  <a:pt x="607148" y="33092"/>
                  <a:pt x="607148" y="16950"/>
                  <a:pt x="623335" y="7264"/>
                </a:cubicBezTo>
                <a:cubicBezTo>
                  <a:pt x="631428" y="2422"/>
                  <a:pt x="642758" y="0"/>
                  <a:pt x="654088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 dirty="0">
              <a:ea typeface="阿里巴巴普惠体" panose="00020600040101010101" pitchFamily="18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549154" y="3567858"/>
            <a:ext cx="7352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7200" spc="-150" dirty="0">
                <a:solidFill>
                  <a:srgbClr val="C00000"/>
                </a:solidFill>
                <a:latin typeface="阿里巴巴普惠体 B" panose="00020600040101010101" pitchFamily="18" charset="-122"/>
                <a:ea typeface="阿里巴巴普惠体 B" panose="00020600040101010101" pitchFamily="18" charset="-122"/>
                <a:cs typeface="阿里巴巴普惠体 B" panose="00020600040101010101" pitchFamily="18" charset="-122"/>
              </a:rPr>
              <a:t>为我的权益做主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18164" y="2983083"/>
            <a:ext cx="51068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315 </a:t>
            </a:r>
            <a:r>
              <a:rPr lang="zh-CN" altLang="en-US" sz="3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消费者权益</a:t>
            </a:r>
            <a:r>
              <a:rPr lang="en-US" altLang="zh-CN" sz="3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PPT</a:t>
            </a:r>
            <a:r>
              <a:rPr lang="zh-CN" altLang="en-US" sz="3200" dirty="0"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模板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40" grpId="0" build="p"/>
      <p:bldP spid="41" grpId="0" build="p"/>
      <p:bldP spid="42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430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359000"/>
            <a:ext cx="10860088" cy="4695388"/>
            <a:chOff x="660400" y="1359000"/>
            <a:chExt cx="10860088" cy="4695388"/>
          </a:xfrm>
        </p:grpSpPr>
        <p:cxnSp>
          <p:nvCxnSpPr>
            <p:cNvPr id="6" name="直接连接符 5"/>
            <p:cNvCxnSpPr/>
            <p:nvPr/>
          </p:nvCxnSpPr>
          <p:spPr>
            <a:xfrm>
              <a:off x="669925" y="3628427"/>
              <a:ext cx="1085056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isḻîḓê"/>
            <p:cNvGrpSpPr/>
            <p:nvPr/>
          </p:nvGrpSpPr>
          <p:grpSpPr>
            <a:xfrm>
              <a:off x="4751810" y="2286000"/>
              <a:ext cx="2688391" cy="2688391"/>
              <a:chOff x="3429469" y="1996868"/>
              <a:chExt cx="2285062" cy="2285062"/>
            </a:xfrm>
          </p:grpSpPr>
          <p:sp>
            <p:nvSpPr>
              <p:cNvPr id="39" name="iśḻïḍê"/>
              <p:cNvSpPr/>
              <p:nvPr/>
            </p:nvSpPr>
            <p:spPr>
              <a:xfrm>
                <a:off x="3429469" y="1996868"/>
                <a:ext cx="1116740" cy="1116740"/>
              </a:xfrm>
              <a:prstGeom prst="pieWedge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40" name="íšḻíḋê"/>
              <p:cNvSpPr/>
              <p:nvPr/>
            </p:nvSpPr>
            <p:spPr>
              <a:xfrm rot="5400000">
                <a:off x="4597791" y="1996868"/>
                <a:ext cx="1116740" cy="1116740"/>
              </a:xfrm>
              <a:prstGeom prst="pieWedge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41" name="ïṩ1îdè"/>
              <p:cNvSpPr/>
              <p:nvPr/>
            </p:nvSpPr>
            <p:spPr>
              <a:xfrm rot="10800000">
                <a:off x="4597791" y="3165190"/>
                <a:ext cx="1116740" cy="1116740"/>
              </a:xfrm>
              <a:prstGeom prst="pieWedge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42" name="ïSlîdê"/>
              <p:cNvSpPr/>
              <p:nvPr/>
            </p:nvSpPr>
            <p:spPr>
              <a:xfrm rot="16200000">
                <a:off x="3429469" y="3165190"/>
                <a:ext cx="1116740" cy="1116740"/>
              </a:xfrm>
              <a:prstGeom prst="pieWedge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8" name="îṥlïḓê"/>
            <p:cNvGrpSpPr/>
            <p:nvPr/>
          </p:nvGrpSpPr>
          <p:grpSpPr>
            <a:xfrm>
              <a:off x="5080000" y="2614193"/>
              <a:ext cx="2032000" cy="2032000"/>
              <a:chOff x="4343400" y="1854885"/>
              <a:chExt cx="457200" cy="457200"/>
            </a:xfrm>
          </p:grpSpPr>
          <p:sp>
            <p:nvSpPr>
              <p:cNvPr id="37" name="íŝļïḋê"/>
              <p:cNvSpPr/>
              <p:nvPr/>
            </p:nvSpPr>
            <p:spPr>
              <a:xfrm>
                <a:off x="4343400" y="1854885"/>
                <a:ext cx="457200" cy="4572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38" name="íşḻíḑè"/>
              <p:cNvSpPr/>
              <p:nvPr/>
            </p:nvSpPr>
            <p:spPr>
              <a:xfrm>
                <a:off x="4408030" y="1919516"/>
                <a:ext cx="327939" cy="327939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zh-CN" altLang="en-US" dirty="0">
                    <a:ea typeface="阿里巴巴普惠体" panose="00020600040101010101" pitchFamily="18" charset="-122"/>
                  </a:rPr>
                  <a:t>输入</a:t>
                </a:r>
                <a:endParaRPr lang="en-US" altLang="zh-CN" dirty="0">
                  <a:ea typeface="阿里巴巴普惠体" panose="00020600040101010101" pitchFamily="18" charset="-122"/>
                </a:endParaRPr>
              </a:p>
              <a:p>
                <a:pPr algn="ctr"/>
                <a:r>
                  <a:rPr lang="zh-CN" altLang="en-US" dirty="0">
                    <a:ea typeface="阿里巴巴普惠体" panose="00020600040101010101" pitchFamily="18" charset="-122"/>
                  </a:rPr>
                  <a:t>文本</a:t>
                </a:r>
                <a:endParaRPr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9" name="ïSḻïḍé"/>
            <p:cNvGrpSpPr/>
            <p:nvPr/>
          </p:nvGrpSpPr>
          <p:grpSpPr>
            <a:xfrm>
              <a:off x="660400" y="4745627"/>
              <a:ext cx="3680600" cy="1308761"/>
              <a:chOff x="660400" y="1560626"/>
              <a:chExt cx="3680600" cy="1308761"/>
            </a:xfrm>
          </p:grpSpPr>
          <p:sp>
            <p:nvSpPr>
              <p:cNvPr id="32" name="íṡḷïḍê"/>
              <p:cNvSpPr/>
              <p:nvPr/>
            </p:nvSpPr>
            <p:spPr bwMode="auto">
              <a:xfrm>
                <a:off x="3982380" y="1635343"/>
                <a:ext cx="358620" cy="315953"/>
              </a:xfrm>
              <a:custGeom>
                <a:avLst/>
                <a:gdLst>
                  <a:gd name="T0" fmla="*/ 0 w 6165"/>
                  <a:gd name="T1" fmla="*/ 90 h 5440"/>
                  <a:gd name="T2" fmla="*/ 363 w 6165"/>
                  <a:gd name="T3" fmla="*/ 4624 h 5440"/>
                  <a:gd name="T4" fmla="*/ 907 w 6165"/>
                  <a:gd name="T5" fmla="*/ 4624 h 5440"/>
                  <a:gd name="T6" fmla="*/ 2901 w 6165"/>
                  <a:gd name="T7" fmla="*/ 90 h 5440"/>
                  <a:gd name="T8" fmla="*/ 861 w 6165"/>
                  <a:gd name="T9" fmla="*/ 4080 h 5440"/>
                  <a:gd name="T10" fmla="*/ 363 w 6165"/>
                  <a:gd name="T11" fmla="*/ 3581 h 5440"/>
                  <a:gd name="T12" fmla="*/ 907 w 6165"/>
                  <a:gd name="T13" fmla="*/ 3581 h 5440"/>
                  <a:gd name="T14" fmla="*/ 861 w 6165"/>
                  <a:gd name="T15" fmla="*/ 3082 h 5440"/>
                  <a:gd name="T16" fmla="*/ 363 w 6165"/>
                  <a:gd name="T17" fmla="*/ 2584 h 5440"/>
                  <a:gd name="T18" fmla="*/ 907 w 6165"/>
                  <a:gd name="T19" fmla="*/ 2584 h 5440"/>
                  <a:gd name="T20" fmla="*/ 861 w 6165"/>
                  <a:gd name="T21" fmla="*/ 2085 h 5440"/>
                  <a:gd name="T22" fmla="*/ 363 w 6165"/>
                  <a:gd name="T23" fmla="*/ 1586 h 5440"/>
                  <a:gd name="T24" fmla="*/ 907 w 6165"/>
                  <a:gd name="T25" fmla="*/ 1586 h 5440"/>
                  <a:gd name="T26" fmla="*/ 861 w 6165"/>
                  <a:gd name="T27" fmla="*/ 1088 h 5440"/>
                  <a:gd name="T28" fmla="*/ 363 w 6165"/>
                  <a:gd name="T29" fmla="*/ 589 h 5440"/>
                  <a:gd name="T30" fmla="*/ 907 w 6165"/>
                  <a:gd name="T31" fmla="*/ 589 h 5440"/>
                  <a:gd name="T32" fmla="*/ 1677 w 6165"/>
                  <a:gd name="T33" fmla="*/ 4080 h 5440"/>
                  <a:gd name="T34" fmla="*/ 1179 w 6165"/>
                  <a:gd name="T35" fmla="*/ 3581 h 5440"/>
                  <a:gd name="T36" fmla="*/ 1723 w 6165"/>
                  <a:gd name="T37" fmla="*/ 3581 h 5440"/>
                  <a:gd name="T38" fmla="*/ 1677 w 6165"/>
                  <a:gd name="T39" fmla="*/ 3082 h 5440"/>
                  <a:gd name="T40" fmla="*/ 1179 w 6165"/>
                  <a:gd name="T41" fmla="*/ 2584 h 5440"/>
                  <a:gd name="T42" fmla="*/ 1723 w 6165"/>
                  <a:gd name="T43" fmla="*/ 2584 h 5440"/>
                  <a:gd name="T44" fmla="*/ 1677 w 6165"/>
                  <a:gd name="T45" fmla="*/ 2085 h 5440"/>
                  <a:gd name="T46" fmla="*/ 1179 w 6165"/>
                  <a:gd name="T47" fmla="*/ 1586 h 5440"/>
                  <a:gd name="T48" fmla="*/ 1723 w 6165"/>
                  <a:gd name="T49" fmla="*/ 1586 h 5440"/>
                  <a:gd name="T50" fmla="*/ 1677 w 6165"/>
                  <a:gd name="T51" fmla="*/ 1088 h 5440"/>
                  <a:gd name="T52" fmla="*/ 1179 w 6165"/>
                  <a:gd name="T53" fmla="*/ 589 h 5440"/>
                  <a:gd name="T54" fmla="*/ 1723 w 6165"/>
                  <a:gd name="T55" fmla="*/ 589 h 5440"/>
                  <a:gd name="T56" fmla="*/ 2493 w 6165"/>
                  <a:gd name="T57" fmla="*/ 4080 h 5440"/>
                  <a:gd name="T58" fmla="*/ 1995 w 6165"/>
                  <a:gd name="T59" fmla="*/ 3581 h 5440"/>
                  <a:gd name="T60" fmla="*/ 2539 w 6165"/>
                  <a:gd name="T61" fmla="*/ 3581 h 5440"/>
                  <a:gd name="T62" fmla="*/ 2493 w 6165"/>
                  <a:gd name="T63" fmla="*/ 3082 h 5440"/>
                  <a:gd name="T64" fmla="*/ 1995 w 6165"/>
                  <a:gd name="T65" fmla="*/ 2584 h 5440"/>
                  <a:gd name="T66" fmla="*/ 2539 w 6165"/>
                  <a:gd name="T67" fmla="*/ 2584 h 5440"/>
                  <a:gd name="T68" fmla="*/ 2493 w 6165"/>
                  <a:gd name="T69" fmla="*/ 2085 h 5440"/>
                  <a:gd name="T70" fmla="*/ 1995 w 6165"/>
                  <a:gd name="T71" fmla="*/ 1586 h 5440"/>
                  <a:gd name="T72" fmla="*/ 2539 w 6165"/>
                  <a:gd name="T73" fmla="*/ 1586 h 5440"/>
                  <a:gd name="T74" fmla="*/ 2493 w 6165"/>
                  <a:gd name="T75" fmla="*/ 1088 h 5440"/>
                  <a:gd name="T76" fmla="*/ 1995 w 6165"/>
                  <a:gd name="T77" fmla="*/ 589 h 5440"/>
                  <a:gd name="T78" fmla="*/ 2539 w 6165"/>
                  <a:gd name="T79" fmla="*/ 589 h 5440"/>
                  <a:gd name="T80" fmla="*/ 3379 w 6165"/>
                  <a:gd name="T81" fmla="*/ 1845 h 5440"/>
                  <a:gd name="T82" fmla="*/ 3627 w 6165"/>
                  <a:gd name="T83" fmla="*/ 5440 h 5440"/>
                  <a:gd name="T84" fmla="*/ 4080 w 6165"/>
                  <a:gd name="T85" fmla="*/ 4624 h 5440"/>
                  <a:gd name="T86" fmla="*/ 6165 w 6165"/>
                  <a:gd name="T87" fmla="*/ 5440 h 5440"/>
                  <a:gd name="T88" fmla="*/ 4171 w 6165"/>
                  <a:gd name="T89" fmla="*/ 4216 h 5440"/>
                  <a:gd name="T90" fmla="*/ 3627 w 6165"/>
                  <a:gd name="T91" fmla="*/ 4216 h 5440"/>
                  <a:gd name="T92" fmla="*/ 4125 w 6165"/>
                  <a:gd name="T93" fmla="*/ 3717 h 5440"/>
                  <a:gd name="T94" fmla="*/ 4171 w 6165"/>
                  <a:gd name="T95" fmla="*/ 3218 h 5440"/>
                  <a:gd name="T96" fmla="*/ 3627 w 6165"/>
                  <a:gd name="T97" fmla="*/ 3218 h 5440"/>
                  <a:gd name="T98" fmla="*/ 4125 w 6165"/>
                  <a:gd name="T99" fmla="*/ 2720 h 5440"/>
                  <a:gd name="T100" fmla="*/ 4987 w 6165"/>
                  <a:gd name="T101" fmla="*/ 4216 h 5440"/>
                  <a:gd name="T102" fmla="*/ 4443 w 6165"/>
                  <a:gd name="T103" fmla="*/ 4216 h 5440"/>
                  <a:gd name="T104" fmla="*/ 4941 w 6165"/>
                  <a:gd name="T105" fmla="*/ 3717 h 5440"/>
                  <a:gd name="T106" fmla="*/ 4987 w 6165"/>
                  <a:gd name="T107" fmla="*/ 3218 h 5440"/>
                  <a:gd name="T108" fmla="*/ 4443 w 6165"/>
                  <a:gd name="T109" fmla="*/ 3218 h 5440"/>
                  <a:gd name="T110" fmla="*/ 4941 w 6165"/>
                  <a:gd name="T111" fmla="*/ 2720 h 5440"/>
                  <a:gd name="T112" fmla="*/ 5803 w 6165"/>
                  <a:gd name="T113" fmla="*/ 4216 h 5440"/>
                  <a:gd name="T114" fmla="*/ 5259 w 6165"/>
                  <a:gd name="T115" fmla="*/ 4216 h 5440"/>
                  <a:gd name="T116" fmla="*/ 5757 w 6165"/>
                  <a:gd name="T117" fmla="*/ 3717 h 5440"/>
                  <a:gd name="T118" fmla="*/ 5803 w 6165"/>
                  <a:gd name="T119" fmla="*/ 3218 h 5440"/>
                  <a:gd name="T120" fmla="*/ 5259 w 6165"/>
                  <a:gd name="T121" fmla="*/ 3218 h 5440"/>
                  <a:gd name="T122" fmla="*/ 5757 w 6165"/>
                  <a:gd name="T123" fmla="*/ 2720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65" h="5440">
                    <a:moveTo>
                      <a:pt x="2811" y="0"/>
                    </a:moveTo>
                    <a:lnTo>
                      <a:pt x="91" y="0"/>
                    </a:lnTo>
                    <a:cubicBezTo>
                      <a:pt x="41" y="0"/>
                      <a:pt x="0" y="40"/>
                      <a:pt x="0" y="90"/>
                    </a:cubicBezTo>
                    <a:lnTo>
                      <a:pt x="0" y="5440"/>
                    </a:lnTo>
                    <a:lnTo>
                      <a:pt x="363" y="5440"/>
                    </a:lnTo>
                    <a:lnTo>
                      <a:pt x="363" y="4624"/>
                    </a:lnTo>
                    <a:cubicBezTo>
                      <a:pt x="363" y="4574"/>
                      <a:pt x="403" y="4533"/>
                      <a:pt x="453" y="4533"/>
                    </a:cubicBezTo>
                    <a:lnTo>
                      <a:pt x="816" y="4533"/>
                    </a:lnTo>
                    <a:cubicBezTo>
                      <a:pt x="866" y="4533"/>
                      <a:pt x="907" y="4574"/>
                      <a:pt x="907" y="4624"/>
                    </a:cubicBezTo>
                    <a:lnTo>
                      <a:pt x="907" y="5440"/>
                    </a:lnTo>
                    <a:lnTo>
                      <a:pt x="2901" y="5440"/>
                    </a:lnTo>
                    <a:lnTo>
                      <a:pt x="2901" y="90"/>
                    </a:lnTo>
                    <a:cubicBezTo>
                      <a:pt x="2901" y="40"/>
                      <a:pt x="2861" y="0"/>
                      <a:pt x="2811" y="0"/>
                    </a:cubicBezTo>
                    <a:close/>
                    <a:moveTo>
                      <a:pt x="907" y="4034"/>
                    </a:moveTo>
                    <a:cubicBezTo>
                      <a:pt x="907" y="4059"/>
                      <a:pt x="886" y="4080"/>
                      <a:pt x="861" y="4080"/>
                    </a:cubicBezTo>
                    <a:lnTo>
                      <a:pt x="408" y="4080"/>
                    </a:lnTo>
                    <a:cubicBezTo>
                      <a:pt x="383" y="4080"/>
                      <a:pt x="363" y="4059"/>
                      <a:pt x="363" y="4034"/>
                    </a:cubicBezTo>
                    <a:lnTo>
                      <a:pt x="363" y="3581"/>
                    </a:lnTo>
                    <a:cubicBezTo>
                      <a:pt x="363" y="3556"/>
                      <a:pt x="383" y="3536"/>
                      <a:pt x="408" y="3536"/>
                    </a:cubicBezTo>
                    <a:lnTo>
                      <a:pt x="861" y="3536"/>
                    </a:lnTo>
                    <a:cubicBezTo>
                      <a:pt x="886" y="3536"/>
                      <a:pt x="907" y="3556"/>
                      <a:pt x="907" y="3581"/>
                    </a:cubicBezTo>
                    <a:lnTo>
                      <a:pt x="907" y="4034"/>
                    </a:lnTo>
                    <a:close/>
                    <a:moveTo>
                      <a:pt x="907" y="3037"/>
                    </a:moveTo>
                    <a:cubicBezTo>
                      <a:pt x="907" y="3062"/>
                      <a:pt x="886" y="3082"/>
                      <a:pt x="861" y="3082"/>
                    </a:cubicBezTo>
                    <a:lnTo>
                      <a:pt x="408" y="3082"/>
                    </a:lnTo>
                    <a:cubicBezTo>
                      <a:pt x="383" y="3082"/>
                      <a:pt x="363" y="3062"/>
                      <a:pt x="363" y="3037"/>
                    </a:cubicBezTo>
                    <a:lnTo>
                      <a:pt x="363" y="2584"/>
                    </a:lnTo>
                    <a:cubicBezTo>
                      <a:pt x="363" y="2559"/>
                      <a:pt x="383" y="2538"/>
                      <a:pt x="408" y="2538"/>
                    </a:cubicBezTo>
                    <a:lnTo>
                      <a:pt x="861" y="2538"/>
                    </a:lnTo>
                    <a:cubicBezTo>
                      <a:pt x="886" y="2538"/>
                      <a:pt x="907" y="2559"/>
                      <a:pt x="907" y="2584"/>
                    </a:cubicBezTo>
                    <a:lnTo>
                      <a:pt x="907" y="3037"/>
                    </a:lnTo>
                    <a:close/>
                    <a:moveTo>
                      <a:pt x="907" y="2040"/>
                    </a:moveTo>
                    <a:cubicBezTo>
                      <a:pt x="907" y="2065"/>
                      <a:pt x="886" y="2085"/>
                      <a:pt x="861" y="2085"/>
                    </a:cubicBezTo>
                    <a:lnTo>
                      <a:pt x="408" y="2085"/>
                    </a:lnTo>
                    <a:cubicBezTo>
                      <a:pt x="383" y="2085"/>
                      <a:pt x="363" y="2065"/>
                      <a:pt x="363" y="2040"/>
                    </a:cubicBezTo>
                    <a:lnTo>
                      <a:pt x="363" y="1586"/>
                    </a:lnTo>
                    <a:cubicBezTo>
                      <a:pt x="363" y="1561"/>
                      <a:pt x="383" y="1541"/>
                      <a:pt x="408" y="1541"/>
                    </a:cubicBezTo>
                    <a:lnTo>
                      <a:pt x="861" y="1541"/>
                    </a:lnTo>
                    <a:cubicBezTo>
                      <a:pt x="886" y="1541"/>
                      <a:pt x="907" y="1561"/>
                      <a:pt x="907" y="1586"/>
                    </a:cubicBezTo>
                    <a:lnTo>
                      <a:pt x="907" y="2040"/>
                    </a:lnTo>
                    <a:close/>
                    <a:moveTo>
                      <a:pt x="907" y="1042"/>
                    </a:moveTo>
                    <a:cubicBezTo>
                      <a:pt x="907" y="1067"/>
                      <a:pt x="886" y="1088"/>
                      <a:pt x="861" y="1088"/>
                    </a:cubicBezTo>
                    <a:lnTo>
                      <a:pt x="408" y="1088"/>
                    </a:lnTo>
                    <a:cubicBezTo>
                      <a:pt x="383" y="1088"/>
                      <a:pt x="363" y="1067"/>
                      <a:pt x="363" y="1042"/>
                    </a:cubicBezTo>
                    <a:lnTo>
                      <a:pt x="363" y="589"/>
                    </a:lnTo>
                    <a:cubicBezTo>
                      <a:pt x="363" y="564"/>
                      <a:pt x="383" y="544"/>
                      <a:pt x="408" y="544"/>
                    </a:cubicBezTo>
                    <a:lnTo>
                      <a:pt x="861" y="544"/>
                    </a:lnTo>
                    <a:cubicBezTo>
                      <a:pt x="886" y="544"/>
                      <a:pt x="907" y="564"/>
                      <a:pt x="907" y="589"/>
                    </a:cubicBezTo>
                    <a:lnTo>
                      <a:pt x="907" y="1042"/>
                    </a:lnTo>
                    <a:close/>
                    <a:moveTo>
                      <a:pt x="1723" y="4034"/>
                    </a:moveTo>
                    <a:cubicBezTo>
                      <a:pt x="1723" y="4059"/>
                      <a:pt x="1702" y="4080"/>
                      <a:pt x="1677" y="4080"/>
                    </a:cubicBezTo>
                    <a:lnTo>
                      <a:pt x="1224" y="4080"/>
                    </a:lnTo>
                    <a:cubicBezTo>
                      <a:pt x="1199" y="4080"/>
                      <a:pt x="1179" y="4059"/>
                      <a:pt x="1179" y="4034"/>
                    </a:cubicBezTo>
                    <a:lnTo>
                      <a:pt x="1179" y="3581"/>
                    </a:lnTo>
                    <a:cubicBezTo>
                      <a:pt x="1179" y="3556"/>
                      <a:pt x="1199" y="3536"/>
                      <a:pt x="1224" y="3536"/>
                    </a:cubicBezTo>
                    <a:lnTo>
                      <a:pt x="1677" y="3536"/>
                    </a:lnTo>
                    <a:cubicBezTo>
                      <a:pt x="1702" y="3536"/>
                      <a:pt x="1723" y="3556"/>
                      <a:pt x="1723" y="3581"/>
                    </a:cubicBezTo>
                    <a:lnTo>
                      <a:pt x="1723" y="4034"/>
                    </a:lnTo>
                    <a:close/>
                    <a:moveTo>
                      <a:pt x="1723" y="3037"/>
                    </a:moveTo>
                    <a:cubicBezTo>
                      <a:pt x="1723" y="3062"/>
                      <a:pt x="1702" y="3082"/>
                      <a:pt x="1677" y="3082"/>
                    </a:cubicBezTo>
                    <a:lnTo>
                      <a:pt x="1224" y="3082"/>
                    </a:lnTo>
                    <a:cubicBezTo>
                      <a:pt x="1199" y="3082"/>
                      <a:pt x="1179" y="3062"/>
                      <a:pt x="1179" y="3037"/>
                    </a:cubicBezTo>
                    <a:lnTo>
                      <a:pt x="1179" y="2584"/>
                    </a:lnTo>
                    <a:cubicBezTo>
                      <a:pt x="1179" y="2559"/>
                      <a:pt x="1199" y="2538"/>
                      <a:pt x="1224" y="2538"/>
                    </a:cubicBezTo>
                    <a:lnTo>
                      <a:pt x="1677" y="2538"/>
                    </a:lnTo>
                    <a:cubicBezTo>
                      <a:pt x="1702" y="2538"/>
                      <a:pt x="1723" y="2559"/>
                      <a:pt x="1723" y="2584"/>
                    </a:cubicBezTo>
                    <a:lnTo>
                      <a:pt x="1723" y="3037"/>
                    </a:lnTo>
                    <a:close/>
                    <a:moveTo>
                      <a:pt x="1723" y="2040"/>
                    </a:moveTo>
                    <a:cubicBezTo>
                      <a:pt x="1723" y="2065"/>
                      <a:pt x="1702" y="2085"/>
                      <a:pt x="1677" y="2085"/>
                    </a:cubicBezTo>
                    <a:lnTo>
                      <a:pt x="1224" y="2085"/>
                    </a:lnTo>
                    <a:cubicBezTo>
                      <a:pt x="1199" y="2085"/>
                      <a:pt x="1179" y="2065"/>
                      <a:pt x="1179" y="2040"/>
                    </a:cubicBezTo>
                    <a:lnTo>
                      <a:pt x="1179" y="1586"/>
                    </a:lnTo>
                    <a:cubicBezTo>
                      <a:pt x="1179" y="1561"/>
                      <a:pt x="1199" y="1541"/>
                      <a:pt x="1224" y="1541"/>
                    </a:cubicBezTo>
                    <a:lnTo>
                      <a:pt x="1677" y="1541"/>
                    </a:lnTo>
                    <a:cubicBezTo>
                      <a:pt x="1702" y="1541"/>
                      <a:pt x="1723" y="1561"/>
                      <a:pt x="1723" y="1586"/>
                    </a:cubicBezTo>
                    <a:lnTo>
                      <a:pt x="1723" y="2040"/>
                    </a:lnTo>
                    <a:close/>
                    <a:moveTo>
                      <a:pt x="1723" y="1042"/>
                    </a:moveTo>
                    <a:cubicBezTo>
                      <a:pt x="1723" y="1067"/>
                      <a:pt x="1702" y="1088"/>
                      <a:pt x="1677" y="1088"/>
                    </a:cubicBezTo>
                    <a:lnTo>
                      <a:pt x="1224" y="1088"/>
                    </a:lnTo>
                    <a:cubicBezTo>
                      <a:pt x="1199" y="1088"/>
                      <a:pt x="1179" y="1067"/>
                      <a:pt x="1179" y="1042"/>
                    </a:cubicBezTo>
                    <a:lnTo>
                      <a:pt x="1179" y="589"/>
                    </a:lnTo>
                    <a:cubicBezTo>
                      <a:pt x="1179" y="564"/>
                      <a:pt x="1199" y="544"/>
                      <a:pt x="1224" y="544"/>
                    </a:cubicBezTo>
                    <a:lnTo>
                      <a:pt x="1677" y="544"/>
                    </a:lnTo>
                    <a:cubicBezTo>
                      <a:pt x="1702" y="544"/>
                      <a:pt x="1723" y="564"/>
                      <a:pt x="1723" y="589"/>
                    </a:cubicBezTo>
                    <a:lnTo>
                      <a:pt x="1723" y="1042"/>
                    </a:lnTo>
                    <a:close/>
                    <a:moveTo>
                      <a:pt x="2539" y="4034"/>
                    </a:moveTo>
                    <a:cubicBezTo>
                      <a:pt x="2539" y="4059"/>
                      <a:pt x="2518" y="4080"/>
                      <a:pt x="2493" y="4080"/>
                    </a:cubicBezTo>
                    <a:lnTo>
                      <a:pt x="2040" y="4080"/>
                    </a:lnTo>
                    <a:cubicBezTo>
                      <a:pt x="2015" y="4080"/>
                      <a:pt x="1995" y="4059"/>
                      <a:pt x="1995" y="4034"/>
                    </a:cubicBezTo>
                    <a:lnTo>
                      <a:pt x="1995" y="3581"/>
                    </a:lnTo>
                    <a:cubicBezTo>
                      <a:pt x="1995" y="3556"/>
                      <a:pt x="2015" y="3536"/>
                      <a:pt x="2040" y="3536"/>
                    </a:cubicBezTo>
                    <a:lnTo>
                      <a:pt x="2493" y="3536"/>
                    </a:lnTo>
                    <a:cubicBezTo>
                      <a:pt x="2518" y="3536"/>
                      <a:pt x="2539" y="3556"/>
                      <a:pt x="2539" y="3581"/>
                    </a:cubicBezTo>
                    <a:lnTo>
                      <a:pt x="2539" y="4034"/>
                    </a:lnTo>
                    <a:close/>
                    <a:moveTo>
                      <a:pt x="2539" y="3037"/>
                    </a:moveTo>
                    <a:cubicBezTo>
                      <a:pt x="2539" y="3062"/>
                      <a:pt x="2518" y="3082"/>
                      <a:pt x="2493" y="3082"/>
                    </a:cubicBezTo>
                    <a:lnTo>
                      <a:pt x="2040" y="3082"/>
                    </a:lnTo>
                    <a:cubicBezTo>
                      <a:pt x="2015" y="3082"/>
                      <a:pt x="1995" y="3062"/>
                      <a:pt x="1995" y="3037"/>
                    </a:cubicBezTo>
                    <a:lnTo>
                      <a:pt x="1995" y="2584"/>
                    </a:lnTo>
                    <a:cubicBezTo>
                      <a:pt x="1995" y="2559"/>
                      <a:pt x="2015" y="2538"/>
                      <a:pt x="2040" y="2538"/>
                    </a:cubicBezTo>
                    <a:lnTo>
                      <a:pt x="2493" y="2538"/>
                    </a:lnTo>
                    <a:cubicBezTo>
                      <a:pt x="2518" y="2538"/>
                      <a:pt x="2539" y="2559"/>
                      <a:pt x="2539" y="2584"/>
                    </a:cubicBezTo>
                    <a:lnTo>
                      <a:pt x="2539" y="3037"/>
                    </a:lnTo>
                    <a:close/>
                    <a:moveTo>
                      <a:pt x="2539" y="2040"/>
                    </a:moveTo>
                    <a:cubicBezTo>
                      <a:pt x="2539" y="2065"/>
                      <a:pt x="2518" y="2085"/>
                      <a:pt x="2493" y="2085"/>
                    </a:cubicBezTo>
                    <a:lnTo>
                      <a:pt x="2040" y="2085"/>
                    </a:lnTo>
                    <a:cubicBezTo>
                      <a:pt x="2015" y="2085"/>
                      <a:pt x="1995" y="2065"/>
                      <a:pt x="1995" y="2040"/>
                    </a:cubicBezTo>
                    <a:lnTo>
                      <a:pt x="1995" y="1586"/>
                    </a:lnTo>
                    <a:cubicBezTo>
                      <a:pt x="1995" y="1561"/>
                      <a:pt x="2015" y="1541"/>
                      <a:pt x="2040" y="1541"/>
                    </a:cubicBezTo>
                    <a:lnTo>
                      <a:pt x="2493" y="1541"/>
                    </a:lnTo>
                    <a:cubicBezTo>
                      <a:pt x="2518" y="1541"/>
                      <a:pt x="2539" y="1561"/>
                      <a:pt x="2539" y="1586"/>
                    </a:cubicBezTo>
                    <a:lnTo>
                      <a:pt x="2539" y="2040"/>
                    </a:lnTo>
                    <a:close/>
                    <a:moveTo>
                      <a:pt x="2539" y="1042"/>
                    </a:moveTo>
                    <a:cubicBezTo>
                      <a:pt x="2539" y="1067"/>
                      <a:pt x="2518" y="1088"/>
                      <a:pt x="2493" y="1088"/>
                    </a:cubicBezTo>
                    <a:lnTo>
                      <a:pt x="2040" y="1088"/>
                    </a:lnTo>
                    <a:cubicBezTo>
                      <a:pt x="2015" y="1088"/>
                      <a:pt x="1995" y="1067"/>
                      <a:pt x="1995" y="1042"/>
                    </a:cubicBezTo>
                    <a:lnTo>
                      <a:pt x="1995" y="589"/>
                    </a:lnTo>
                    <a:cubicBezTo>
                      <a:pt x="1995" y="564"/>
                      <a:pt x="2015" y="544"/>
                      <a:pt x="2040" y="544"/>
                    </a:cubicBezTo>
                    <a:lnTo>
                      <a:pt x="2493" y="544"/>
                    </a:lnTo>
                    <a:cubicBezTo>
                      <a:pt x="2518" y="544"/>
                      <a:pt x="2539" y="564"/>
                      <a:pt x="2539" y="589"/>
                    </a:cubicBezTo>
                    <a:lnTo>
                      <a:pt x="2539" y="1042"/>
                    </a:lnTo>
                    <a:close/>
                    <a:moveTo>
                      <a:pt x="6099" y="2610"/>
                    </a:moveTo>
                    <a:lnTo>
                      <a:pt x="3379" y="1845"/>
                    </a:lnTo>
                    <a:cubicBezTo>
                      <a:pt x="3321" y="1829"/>
                      <a:pt x="3264" y="1873"/>
                      <a:pt x="3264" y="1933"/>
                    </a:cubicBezTo>
                    <a:lnTo>
                      <a:pt x="3264" y="5440"/>
                    </a:lnTo>
                    <a:lnTo>
                      <a:pt x="3627" y="5440"/>
                    </a:lnTo>
                    <a:lnTo>
                      <a:pt x="3627" y="4714"/>
                    </a:lnTo>
                    <a:cubicBezTo>
                      <a:pt x="3627" y="4664"/>
                      <a:pt x="3667" y="4624"/>
                      <a:pt x="3717" y="4624"/>
                    </a:cubicBezTo>
                    <a:lnTo>
                      <a:pt x="4080" y="4624"/>
                    </a:lnTo>
                    <a:cubicBezTo>
                      <a:pt x="4130" y="4624"/>
                      <a:pt x="4171" y="4664"/>
                      <a:pt x="4171" y="4714"/>
                    </a:cubicBezTo>
                    <a:lnTo>
                      <a:pt x="4171" y="5440"/>
                    </a:lnTo>
                    <a:lnTo>
                      <a:pt x="6165" y="5440"/>
                    </a:lnTo>
                    <a:lnTo>
                      <a:pt x="6165" y="2698"/>
                    </a:lnTo>
                    <a:cubicBezTo>
                      <a:pt x="6165" y="2657"/>
                      <a:pt x="6138" y="2621"/>
                      <a:pt x="6099" y="2610"/>
                    </a:cubicBezTo>
                    <a:close/>
                    <a:moveTo>
                      <a:pt x="4171" y="4216"/>
                    </a:moveTo>
                    <a:cubicBezTo>
                      <a:pt x="4171" y="4241"/>
                      <a:pt x="4150" y="4261"/>
                      <a:pt x="4125" y="4261"/>
                    </a:cubicBezTo>
                    <a:lnTo>
                      <a:pt x="3672" y="4261"/>
                    </a:lnTo>
                    <a:cubicBezTo>
                      <a:pt x="3647" y="4261"/>
                      <a:pt x="3627" y="4241"/>
                      <a:pt x="3627" y="4216"/>
                    </a:cubicBezTo>
                    <a:lnTo>
                      <a:pt x="3627" y="3762"/>
                    </a:lnTo>
                    <a:cubicBezTo>
                      <a:pt x="3627" y="3737"/>
                      <a:pt x="3647" y="3717"/>
                      <a:pt x="3672" y="3717"/>
                    </a:cubicBezTo>
                    <a:lnTo>
                      <a:pt x="4125" y="3717"/>
                    </a:lnTo>
                    <a:cubicBezTo>
                      <a:pt x="4150" y="3717"/>
                      <a:pt x="4171" y="3737"/>
                      <a:pt x="4171" y="3762"/>
                    </a:cubicBezTo>
                    <a:lnTo>
                      <a:pt x="4171" y="4216"/>
                    </a:lnTo>
                    <a:close/>
                    <a:moveTo>
                      <a:pt x="4171" y="3218"/>
                    </a:moveTo>
                    <a:cubicBezTo>
                      <a:pt x="4171" y="3243"/>
                      <a:pt x="4150" y="3264"/>
                      <a:pt x="4125" y="3264"/>
                    </a:cubicBezTo>
                    <a:lnTo>
                      <a:pt x="3672" y="3264"/>
                    </a:lnTo>
                    <a:cubicBezTo>
                      <a:pt x="3647" y="3264"/>
                      <a:pt x="3627" y="3243"/>
                      <a:pt x="3627" y="3218"/>
                    </a:cubicBezTo>
                    <a:lnTo>
                      <a:pt x="3627" y="2765"/>
                    </a:lnTo>
                    <a:cubicBezTo>
                      <a:pt x="3627" y="2740"/>
                      <a:pt x="3647" y="2720"/>
                      <a:pt x="3672" y="2720"/>
                    </a:cubicBezTo>
                    <a:lnTo>
                      <a:pt x="4125" y="2720"/>
                    </a:lnTo>
                    <a:cubicBezTo>
                      <a:pt x="4150" y="2720"/>
                      <a:pt x="4171" y="2740"/>
                      <a:pt x="4171" y="2765"/>
                    </a:cubicBezTo>
                    <a:lnTo>
                      <a:pt x="4171" y="3218"/>
                    </a:lnTo>
                    <a:close/>
                    <a:moveTo>
                      <a:pt x="4987" y="4216"/>
                    </a:moveTo>
                    <a:cubicBezTo>
                      <a:pt x="4987" y="4241"/>
                      <a:pt x="4966" y="4261"/>
                      <a:pt x="4941" y="4261"/>
                    </a:cubicBezTo>
                    <a:lnTo>
                      <a:pt x="4488" y="4261"/>
                    </a:lnTo>
                    <a:cubicBezTo>
                      <a:pt x="4463" y="4261"/>
                      <a:pt x="4443" y="4241"/>
                      <a:pt x="4443" y="4216"/>
                    </a:cubicBezTo>
                    <a:lnTo>
                      <a:pt x="4443" y="3762"/>
                    </a:lnTo>
                    <a:cubicBezTo>
                      <a:pt x="4443" y="3737"/>
                      <a:pt x="4463" y="3717"/>
                      <a:pt x="4488" y="3717"/>
                    </a:cubicBezTo>
                    <a:lnTo>
                      <a:pt x="4941" y="3717"/>
                    </a:lnTo>
                    <a:cubicBezTo>
                      <a:pt x="4966" y="3717"/>
                      <a:pt x="4987" y="3737"/>
                      <a:pt x="4987" y="3762"/>
                    </a:cubicBezTo>
                    <a:lnTo>
                      <a:pt x="4987" y="4216"/>
                    </a:lnTo>
                    <a:close/>
                    <a:moveTo>
                      <a:pt x="4987" y="3218"/>
                    </a:moveTo>
                    <a:cubicBezTo>
                      <a:pt x="4987" y="3243"/>
                      <a:pt x="4966" y="3264"/>
                      <a:pt x="4941" y="3264"/>
                    </a:cubicBezTo>
                    <a:lnTo>
                      <a:pt x="4488" y="3264"/>
                    </a:lnTo>
                    <a:cubicBezTo>
                      <a:pt x="4463" y="3264"/>
                      <a:pt x="4443" y="3243"/>
                      <a:pt x="4443" y="3218"/>
                    </a:cubicBezTo>
                    <a:lnTo>
                      <a:pt x="4443" y="2765"/>
                    </a:lnTo>
                    <a:cubicBezTo>
                      <a:pt x="4443" y="2740"/>
                      <a:pt x="4463" y="2720"/>
                      <a:pt x="4488" y="2720"/>
                    </a:cubicBezTo>
                    <a:lnTo>
                      <a:pt x="4941" y="2720"/>
                    </a:lnTo>
                    <a:cubicBezTo>
                      <a:pt x="4966" y="2720"/>
                      <a:pt x="4987" y="2740"/>
                      <a:pt x="4987" y="2765"/>
                    </a:cubicBezTo>
                    <a:lnTo>
                      <a:pt x="4987" y="3218"/>
                    </a:lnTo>
                    <a:close/>
                    <a:moveTo>
                      <a:pt x="5803" y="4216"/>
                    </a:moveTo>
                    <a:cubicBezTo>
                      <a:pt x="5803" y="4241"/>
                      <a:pt x="5782" y="4261"/>
                      <a:pt x="5757" y="4261"/>
                    </a:cubicBezTo>
                    <a:lnTo>
                      <a:pt x="5304" y="4261"/>
                    </a:lnTo>
                    <a:cubicBezTo>
                      <a:pt x="5279" y="4261"/>
                      <a:pt x="5259" y="4241"/>
                      <a:pt x="5259" y="4216"/>
                    </a:cubicBezTo>
                    <a:lnTo>
                      <a:pt x="5259" y="3762"/>
                    </a:lnTo>
                    <a:cubicBezTo>
                      <a:pt x="5259" y="3737"/>
                      <a:pt x="5279" y="3717"/>
                      <a:pt x="5304" y="3717"/>
                    </a:cubicBezTo>
                    <a:lnTo>
                      <a:pt x="5757" y="3717"/>
                    </a:lnTo>
                    <a:cubicBezTo>
                      <a:pt x="5782" y="3717"/>
                      <a:pt x="5803" y="3737"/>
                      <a:pt x="5803" y="3762"/>
                    </a:cubicBezTo>
                    <a:lnTo>
                      <a:pt x="5803" y="4216"/>
                    </a:lnTo>
                    <a:close/>
                    <a:moveTo>
                      <a:pt x="5803" y="3218"/>
                    </a:moveTo>
                    <a:cubicBezTo>
                      <a:pt x="5803" y="3243"/>
                      <a:pt x="5782" y="3264"/>
                      <a:pt x="5757" y="3264"/>
                    </a:cubicBezTo>
                    <a:lnTo>
                      <a:pt x="5304" y="3264"/>
                    </a:lnTo>
                    <a:cubicBezTo>
                      <a:pt x="5279" y="3264"/>
                      <a:pt x="5259" y="3243"/>
                      <a:pt x="5259" y="3218"/>
                    </a:cubicBezTo>
                    <a:lnTo>
                      <a:pt x="5259" y="2765"/>
                    </a:lnTo>
                    <a:cubicBezTo>
                      <a:pt x="5259" y="2740"/>
                      <a:pt x="5279" y="2720"/>
                      <a:pt x="5304" y="2720"/>
                    </a:cubicBezTo>
                    <a:lnTo>
                      <a:pt x="5757" y="2720"/>
                    </a:lnTo>
                    <a:cubicBezTo>
                      <a:pt x="5782" y="2720"/>
                      <a:pt x="5803" y="2740"/>
                      <a:pt x="5803" y="2765"/>
                    </a:cubicBezTo>
                    <a:lnTo>
                      <a:pt x="5803" y="321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  <p:grpSp>
            <p:nvGrpSpPr>
              <p:cNvPr id="33" name="í$1îḍê"/>
              <p:cNvGrpSpPr/>
              <p:nvPr/>
            </p:nvGrpSpPr>
            <p:grpSpPr>
              <a:xfrm>
                <a:off x="660400" y="1560626"/>
                <a:ext cx="3421582" cy="1308761"/>
                <a:chOff x="8211000" y="1130300"/>
                <a:chExt cx="3307900" cy="1308761"/>
              </a:xfrm>
            </p:grpSpPr>
            <p:sp>
              <p:nvSpPr>
                <p:cNvPr id="35" name="iSḻiḓè"/>
                <p:cNvSpPr txBox="1"/>
                <p:nvPr/>
              </p:nvSpPr>
              <p:spPr bwMode="auto">
                <a:xfrm>
                  <a:off x="8211000" y="1130300"/>
                  <a:ext cx="3307900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spcBef>
                      <a:spcPct val="0"/>
                    </a:spcBef>
                    <a:defRPr/>
                  </a:pPr>
                  <a:r>
                    <a:rPr lang="zh-CN" altLang="en-US" sz="2000" b="1" dirty="0">
                      <a:solidFill>
                        <a:srgbClr val="000000"/>
                      </a:solidFill>
                      <a:ea typeface="阿里巴巴普惠体" panose="00020600040101010101" pitchFamily="18" charset="-122"/>
                    </a:rPr>
                    <a:t>添加标题内容</a:t>
                  </a:r>
                  <a:endParaRPr lang="en-US" altLang="zh-CN" sz="2000" b="1" dirty="0">
                    <a:solidFill>
                      <a:srgbClr val="000000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36" name="íş1ïďè"/>
                <p:cNvSpPr/>
                <p:nvPr/>
              </p:nvSpPr>
              <p:spPr bwMode="auto">
                <a:xfrm>
                  <a:off x="8211000" y="1572106"/>
                  <a:ext cx="3307900" cy="8669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1100" dirty="0"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</p:txBody>
            </p:sp>
          </p:grpSp>
          <p:cxnSp>
            <p:nvCxnSpPr>
              <p:cNvPr id="34" name="直接连接符 33"/>
              <p:cNvCxnSpPr/>
              <p:nvPr/>
            </p:nvCxnSpPr>
            <p:spPr>
              <a:xfrm>
                <a:off x="660400" y="2002431"/>
                <a:ext cx="3680600" cy="0"/>
              </a:xfrm>
              <a:prstGeom prst="line">
                <a:avLst/>
              </a:prstGeom>
              <a:ln w="3175" cap="rnd">
                <a:solidFill>
                  <a:schemeClr val="tx2">
                    <a:lumMod val="90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iŝḻîḑê"/>
            <p:cNvGrpSpPr/>
            <p:nvPr/>
          </p:nvGrpSpPr>
          <p:grpSpPr>
            <a:xfrm>
              <a:off x="660400" y="1359000"/>
              <a:ext cx="3680600" cy="1308761"/>
              <a:chOff x="660400" y="1560626"/>
              <a:chExt cx="3680600" cy="1308761"/>
            </a:xfrm>
          </p:grpSpPr>
          <p:sp>
            <p:nvSpPr>
              <p:cNvPr id="27" name="íṥliḍé"/>
              <p:cNvSpPr/>
              <p:nvPr/>
            </p:nvSpPr>
            <p:spPr bwMode="auto">
              <a:xfrm>
                <a:off x="3982380" y="1635343"/>
                <a:ext cx="358620" cy="315953"/>
              </a:xfrm>
              <a:custGeom>
                <a:avLst/>
                <a:gdLst>
                  <a:gd name="T0" fmla="*/ 0 w 6165"/>
                  <a:gd name="T1" fmla="*/ 90 h 5440"/>
                  <a:gd name="T2" fmla="*/ 363 w 6165"/>
                  <a:gd name="T3" fmla="*/ 4624 h 5440"/>
                  <a:gd name="T4" fmla="*/ 907 w 6165"/>
                  <a:gd name="T5" fmla="*/ 4624 h 5440"/>
                  <a:gd name="T6" fmla="*/ 2901 w 6165"/>
                  <a:gd name="T7" fmla="*/ 90 h 5440"/>
                  <a:gd name="T8" fmla="*/ 861 w 6165"/>
                  <a:gd name="T9" fmla="*/ 4080 h 5440"/>
                  <a:gd name="T10" fmla="*/ 363 w 6165"/>
                  <a:gd name="T11" fmla="*/ 3581 h 5440"/>
                  <a:gd name="T12" fmla="*/ 907 w 6165"/>
                  <a:gd name="T13" fmla="*/ 3581 h 5440"/>
                  <a:gd name="T14" fmla="*/ 861 w 6165"/>
                  <a:gd name="T15" fmla="*/ 3082 h 5440"/>
                  <a:gd name="T16" fmla="*/ 363 w 6165"/>
                  <a:gd name="T17" fmla="*/ 2584 h 5440"/>
                  <a:gd name="T18" fmla="*/ 907 w 6165"/>
                  <a:gd name="T19" fmla="*/ 2584 h 5440"/>
                  <a:gd name="T20" fmla="*/ 861 w 6165"/>
                  <a:gd name="T21" fmla="*/ 2085 h 5440"/>
                  <a:gd name="T22" fmla="*/ 363 w 6165"/>
                  <a:gd name="T23" fmla="*/ 1586 h 5440"/>
                  <a:gd name="T24" fmla="*/ 907 w 6165"/>
                  <a:gd name="T25" fmla="*/ 1586 h 5440"/>
                  <a:gd name="T26" fmla="*/ 861 w 6165"/>
                  <a:gd name="T27" fmla="*/ 1088 h 5440"/>
                  <a:gd name="T28" fmla="*/ 363 w 6165"/>
                  <a:gd name="T29" fmla="*/ 589 h 5440"/>
                  <a:gd name="T30" fmla="*/ 907 w 6165"/>
                  <a:gd name="T31" fmla="*/ 589 h 5440"/>
                  <a:gd name="T32" fmla="*/ 1677 w 6165"/>
                  <a:gd name="T33" fmla="*/ 4080 h 5440"/>
                  <a:gd name="T34" fmla="*/ 1179 w 6165"/>
                  <a:gd name="T35" fmla="*/ 3581 h 5440"/>
                  <a:gd name="T36" fmla="*/ 1723 w 6165"/>
                  <a:gd name="T37" fmla="*/ 3581 h 5440"/>
                  <a:gd name="T38" fmla="*/ 1677 w 6165"/>
                  <a:gd name="T39" fmla="*/ 3082 h 5440"/>
                  <a:gd name="T40" fmla="*/ 1179 w 6165"/>
                  <a:gd name="T41" fmla="*/ 2584 h 5440"/>
                  <a:gd name="T42" fmla="*/ 1723 w 6165"/>
                  <a:gd name="T43" fmla="*/ 2584 h 5440"/>
                  <a:gd name="T44" fmla="*/ 1677 w 6165"/>
                  <a:gd name="T45" fmla="*/ 2085 h 5440"/>
                  <a:gd name="T46" fmla="*/ 1179 w 6165"/>
                  <a:gd name="T47" fmla="*/ 1586 h 5440"/>
                  <a:gd name="T48" fmla="*/ 1723 w 6165"/>
                  <a:gd name="T49" fmla="*/ 1586 h 5440"/>
                  <a:gd name="T50" fmla="*/ 1677 w 6165"/>
                  <a:gd name="T51" fmla="*/ 1088 h 5440"/>
                  <a:gd name="T52" fmla="*/ 1179 w 6165"/>
                  <a:gd name="T53" fmla="*/ 589 h 5440"/>
                  <a:gd name="T54" fmla="*/ 1723 w 6165"/>
                  <a:gd name="T55" fmla="*/ 589 h 5440"/>
                  <a:gd name="T56" fmla="*/ 2493 w 6165"/>
                  <a:gd name="T57" fmla="*/ 4080 h 5440"/>
                  <a:gd name="T58" fmla="*/ 1995 w 6165"/>
                  <a:gd name="T59" fmla="*/ 3581 h 5440"/>
                  <a:gd name="T60" fmla="*/ 2539 w 6165"/>
                  <a:gd name="T61" fmla="*/ 3581 h 5440"/>
                  <a:gd name="T62" fmla="*/ 2493 w 6165"/>
                  <a:gd name="T63" fmla="*/ 3082 h 5440"/>
                  <a:gd name="T64" fmla="*/ 1995 w 6165"/>
                  <a:gd name="T65" fmla="*/ 2584 h 5440"/>
                  <a:gd name="T66" fmla="*/ 2539 w 6165"/>
                  <a:gd name="T67" fmla="*/ 2584 h 5440"/>
                  <a:gd name="T68" fmla="*/ 2493 w 6165"/>
                  <a:gd name="T69" fmla="*/ 2085 h 5440"/>
                  <a:gd name="T70" fmla="*/ 1995 w 6165"/>
                  <a:gd name="T71" fmla="*/ 1586 h 5440"/>
                  <a:gd name="T72" fmla="*/ 2539 w 6165"/>
                  <a:gd name="T73" fmla="*/ 1586 h 5440"/>
                  <a:gd name="T74" fmla="*/ 2493 w 6165"/>
                  <a:gd name="T75" fmla="*/ 1088 h 5440"/>
                  <a:gd name="T76" fmla="*/ 1995 w 6165"/>
                  <a:gd name="T77" fmla="*/ 589 h 5440"/>
                  <a:gd name="T78" fmla="*/ 2539 w 6165"/>
                  <a:gd name="T79" fmla="*/ 589 h 5440"/>
                  <a:gd name="T80" fmla="*/ 3379 w 6165"/>
                  <a:gd name="T81" fmla="*/ 1845 h 5440"/>
                  <a:gd name="T82" fmla="*/ 3627 w 6165"/>
                  <a:gd name="T83" fmla="*/ 5440 h 5440"/>
                  <a:gd name="T84" fmla="*/ 4080 w 6165"/>
                  <a:gd name="T85" fmla="*/ 4624 h 5440"/>
                  <a:gd name="T86" fmla="*/ 6165 w 6165"/>
                  <a:gd name="T87" fmla="*/ 5440 h 5440"/>
                  <a:gd name="T88" fmla="*/ 4171 w 6165"/>
                  <a:gd name="T89" fmla="*/ 4216 h 5440"/>
                  <a:gd name="T90" fmla="*/ 3627 w 6165"/>
                  <a:gd name="T91" fmla="*/ 4216 h 5440"/>
                  <a:gd name="T92" fmla="*/ 4125 w 6165"/>
                  <a:gd name="T93" fmla="*/ 3717 h 5440"/>
                  <a:gd name="T94" fmla="*/ 4171 w 6165"/>
                  <a:gd name="T95" fmla="*/ 3218 h 5440"/>
                  <a:gd name="T96" fmla="*/ 3627 w 6165"/>
                  <a:gd name="T97" fmla="*/ 3218 h 5440"/>
                  <a:gd name="T98" fmla="*/ 4125 w 6165"/>
                  <a:gd name="T99" fmla="*/ 2720 h 5440"/>
                  <a:gd name="T100" fmla="*/ 4987 w 6165"/>
                  <a:gd name="T101" fmla="*/ 4216 h 5440"/>
                  <a:gd name="T102" fmla="*/ 4443 w 6165"/>
                  <a:gd name="T103" fmla="*/ 4216 h 5440"/>
                  <a:gd name="T104" fmla="*/ 4941 w 6165"/>
                  <a:gd name="T105" fmla="*/ 3717 h 5440"/>
                  <a:gd name="T106" fmla="*/ 4987 w 6165"/>
                  <a:gd name="T107" fmla="*/ 3218 h 5440"/>
                  <a:gd name="T108" fmla="*/ 4443 w 6165"/>
                  <a:gd name="T109" fmla="*/ 3218 h 5440"/>
                  <a:gd name="T110" fmla="*/ 4941 w 6165"/>
                  <a:gd name="T111" fmla="*/ 2720 h 5440"/>
                  <a:gd name="T112" fmla="*/ 5803 w 6165"/>
                  <a:gd name="T113" fmla="*/ 4216 h 5440"/>
                  <a:gd name="T114" fmla="*/ 5259 w 6165"/>
                  <a:gd name="T115" fmla="*/ 4216 h 5440"/>
                  <a:gd name="T116" fmla="*/ 5757 w 6165"/>
                  <a:gd name="T117" fmla="*/ 3717 h 5440"/>
                  <a:gd name="T118" fmla="*/ 5803 w 6165"/>
                  <a:gd name="T119" fmla="*/ 3218 h 5440"/>
                  <a:gd name="T120" fmla="*/ 5259 w 6165"/>
                  <a:gd name="T121" fmla="*/ 3218 h 5440"/>
                  <a:gd name="T122" fmla="*/ 5757 w 6165"/>
                  <a:gd name="T123" fmla="*/ 2720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65" h="5440">
                    <a:moveTo>
                      <a:pt x="2811" y="0"/>
                    </a:moveTo>
                    <a:lnTo>
                      <a:pt x="91" y="0"/>
                    </a:lnTo>
                    <a:cubicBezTo>
                      <a:pt x="41" y="0"/>
                      <a:pt x="0" y="40"/>
                      <a:pt x="0" y="90"/>
                    </a:cubicBezTo>
                    <a:lnTo>
                      <a:pt x="0" y="5440"/>
                    </a:lnTo>
                    <a:lnTo>
                      <a:pt x="363" y="5440"/>
                    </a:lnTo>
                    <a:lnTo>
                      <a:pt x="363" y="4624"/>
                    </a:lnTo>
                    <a:cubicBezTo>
                      <a:pt x="363" y="4574"/>
                      <a:pt x="403" y="4533"/>
                      <a:pt x="453" y="4533"/>
                    </a:cubicBezTo>
                    <a:lnTo>
                      <a:pt x="816" y="4533"/>
                    </a:lnTo>
                    <a:cubicBezTo>
                      <a:pt x="866" y="4533"/>
                      <a:pt x="907" y="4574"/>
                      <a:pt x="907" y="4624"/>
                    </a:cubicBezTo>
                    <a:lnTo>
                      <a:pt x="907" y="5440"/>
                    </a:lnTo>
                    <a:lnTo>
                      <a:pt x="2901" y="5440"/>
                    </a:lnTo>
                    <a:lnTo>
                      <a:pt x="2901" y="90"/>
                    </a:lnTo>
                    <a:cubicBezTo>
                      <a:pt x="2901" y="40"/>
                      <a:pt x="2861" y="0"/>
                      <a:pt x="2811" y="0"/>
                    </a:cubicBezTo>
                    <a:close/>
                    <a:moveTo>
                      <a:pt x="907" y="4034"/>
                    </a:moveTo>
                    <a:cubicBezTo>
                      <a:pt x="907" y="4059"/>
                      <a:pt x="886" y="4080"/>
                      <a:pt x="861" y="4080"/>
                    </a:cubicBezTo>
                    <a:lnTo>
                      <a:pt x="408" y="4080"/>
                    </a:lnTo>
                    <a:cubicBezTo>
                      <a:pt x="383" y="4080"/>
                      <a:pt x="363" y="4059"/>
                      <a:pt x="363" y="4034"/>
                    </a:cubicBezTo>
                    <a:lnTo>
                      <a:pt x="363" y="3581"/>
                    </a:lnTo>
                    <a:cubicBezTo>
                      <a:pt x="363" y="3556"/>
                      <a:pt x="383" y="3536"/>
                      <a:pt x="408" y="3536"/>
                    </a:cubicBezTo>
                    <a:lnTo>
                      <a:pt x="861" y="3536"/>
                    </a:lnTo>
                    <a:cubicBezTo>
                      <a:pt x="886" y="3536"/>
                      <a:pt x="907" y="3556"/>
                      <a:pt x="907" y="3581"/>
                    </a:cubicBezTo>
                    <a:lnTo>
                      <a:pt x="907" y="4034"/>
                    </a:lnTo>
                    <a:close/>
                    <a:moveTo>
                      <a:pt x="907" y="3037"/>
                    </a:moveTo>
                    <a:cubicBezTo>
                      <a:pt x="907" y="3062"/>
                      <a:pt x="886" y="3082"/>
                      <a:pt x="861" y="3082"/>
                    </a:cubicBezTo>
                    <a:lnTo>
                      <a:pt x="408" y="3082"/>
                    </a:lnTo>
                    <a:cubicBezTo>
                      <a:pt x="383" y="3082"/>
                      <a:pt x="363" y="3062"/>
                      <a:pt x="363" y="3037"/>
                    </a:cubicBezTo>
                    <a:lnTo>
                      <a:pt x="363" y="2584"/>
                    </a:lnTo>
                    <a:cubicBezTo>
                      <a:pt x="363" y="2559"/>
                      <a:pt x="383" y="2538"/>
                      <a:pt x="408" y="2538"/>
                    </a:cubicBezTo>
                    <a:lnTo>
                      <a:pt x="861" y="2538"/>
                    </a:lnTo>
                    <a:cubicBezTo>
                      <a:pt x="886" y="2538"/>
                      <a:pt x="907" y="2559"/>
                      <a:pt x="907" y="2584"/>
                    </a:cubicBezTo>
                    <a:lnTo>
                      <a:pt x="907" y="3037"/>
                    </a:lnTo>
                    <a:close/>
                    <a:moveTo>
                      <a:pt x="907" y="2040"/>
                    </a:moveTo>
                    <a:cubicBezTo>
                      <a:pt x="907" y="2065"/>
                      <a:pt x="886" y="2085"/>
                      <a:pt x="861" y="2085"/>
                    </a:cubicBezTo>
                    <a:lnTo>
                      <a:pt x="408" y="2085"/>
                    </a:lnTo>
                    <a:cubicBezTo>
                      <a:pt x="383" y="2085"/>
                      <a:pt x="363" y="2065"/>
                      <a:pt x="363" y="2040"/>
                    </a:cubicBezTo>
                    <a:lnTo>
                      <a:pt x="363" y="1586"/>
                    </a:lnTo>
                    <a:cubicBezTo>
                      <a:pt x="363" y="1561"/>
                      <a:pt x="383" y="1541"/>
                      <a:pt x="408" y="1541"/>
                    </a:cubicBezTo>
                    <a:lnTo>
                      <a:pt x="861" y="1541"/>
                    </a:lnTo>
                    <a:cubicBezTo>
                      <a:pt x="886" y="1541"/>
                      <a:pt x="907" y="1561"/>
                      <a:pt x="907" y="1586"/>
                    </a:cubicBezTo>
                    <a:lnTo>
                      <a:pt x="907" y="2040"/>
                    </a:lnTo>
                    <a:close/>
                    <a:moveTo>
                      <a:pt x="907" y="1042"/>
                    </a:moveTo>
                    <a:cubicBezTo>
                      <a:pt x="907" y="1067"/>
                      <a:pt x="886" y="1088"/>
                      <a:pt x="861" y="1088"/>
                    </a:cubicBezTo>
                    <a:lnTo>
                      <a:pt x="408" y="1088"/>
                    </a:lnTo>
                    <a:cubicBezTo>
                      <a:pt x="383" y="1088"/>
                      <a:pt x="363" y="1067"/>
                      <a:pt x="363" y="1042"/>
                    </a:cubicBezTo>
                    <a:lnTo>
                      <a:pt x="363" y="589"/>
                    </a:lnTo>
                    <a:cubicBezTo>
                      <a:pt x="363" y="564"/>
                      <a:pt x="383" y="544"/>
                      <a:pt x="408" y="544"/>
                    </a:cubicBezTo>
                    <a:lnTo>
                      <a:pt x="861" y="544"/>
                    </a:lnTo>
                    <a:cubicBezTo>
                      <a:pt x="886" y="544"/>
                      <a:pt x="907" y="564"/>
                      <a:pt x="907" y="589"/>
                    </a:cubicBezTo>
                    <a:lnTo>
                      <a:pt x="907" y="1042"/>
                    </a:lnTo>
                    <a:close/>
                    <a:moveTo>
                      <a:pt x="1723" y="4034"/>
                    </a:moveTo>
                    <a:cubicBezTo>
                      <a:pt x="1723" y="4059"/>
                      <a:pt x="1702" y="4080"/>
                      <a:pt x="1677" y="4080"/>
                    </a:cubicBezTo>
                    <a:lnTo>
                      <a:pt x="1224" y="4080"/>
                    </a:lnTo>
                    <a:cubicBezTo>
                      <a:pt x="1199" y="4080"/>
                      <a:pt x="1179" y="4059"/>
                      <a:pt x="1179" y="4034"/>
                    </a:cubicBezTo>
                    <a:lnTo>
                      <a:pt x="1179" y="3581"/>
                    </a:lnTo>
                    <a:cubicBezTo>
                      <a:pt x="1179" y="3556"/>
                      <a:pt x="1199" y="3536"/>
                      <a:pt x="1224" y="3536"/>
                    </a:cubicBezTo>
                    <a:lnTo>
                      <a:pt x="1677" y="3536"/>
                    </a:lnTo>
                    <a:cubicBezTo>
                      <a:pt x="1702" y="3536"/>
                      <a:pt x="1723" y="3556"/>
                      <a:pt x="1723" y="3581"/>
                    </a:cubicBezTo>
                    <a:lnTo>
                      <a:pt x="1723" y="4034"/>
                    </a:lnTo>
                    <a:close/>
                    <a:moveTo>
                      <a:pt x="1723" y="3037"/>
                    </a:moveTo>
                    <a:cubicBezTo>
                      <a:pt x="1723" y="3062"/>
                      <a:pt x="1702" y="3082"/>
                      <a:pt x="1677" y="3082"/>
                    </a:cubicBezTo>
                    <a:lnTo>
                      <a:pt x="1224" y="3082"/>
                    </a:lnTo>
                    <a:cubicBezTo>
                      <a:pt x="1199" y="3082"/>
                      <a:pt x="1179" y="3062"/>
                      <a:pt x="1179" y="3037"/>
                    </a:cubicBezTo>
                    <a:lnTo>
                      <a:pt x="1179" y="2584"/>
                    </a:lnTo>
                    <a:cubicBezTo>
                      <a:pt x="1179" y="2559"/>
                      <a:pt x="1199" y="2538"/>
                      <a:pt x="1224" y="2538"/>
                    </a:cubicBezTo>
                    <a:lnTo>
                      <a:pt x="1677" y="2538"/>
                    </a:lnTo>
                    <a:cubicBezTo>
                      <a:pt x="1702" y="2538"/>
                      <a:pt x="1723" y="2559"/>
                      <a:pt x="1723" y="2584"/>
                    </a:cubicBezTo>
                    <a:lnTo>
                      <a:pt x="1723" y="3037"/>
                    </a:lnTo>
                    <a:close/>
                    <a:moveTo>
                      <a:pt x="1723" y="2040"/>
                    </a:moveTo>
                    <a:cubicBezTo>
                      <a:pt x="1723" y="2065"/>
                      <a:pt x="1702" y="2085"/>
                      <a:pt x="1677" y="2085"/>
                    </a:cubicBezTo>
                    <a:lnTo>
                      <a:pt x="1224" y="2085"/>
                    </a:lnTo>
                    <a:cubicBezTo>
                      <a:pt x="1199" y="2085"/>
                      <a:pt x="1179" y="2065"/>
                      <a:pt x="1179" y="2040"/>
                    </a:cubicBezTo>
                    <a:lnTo>
                      <a:pt x="1179" y="1586"/>
                    </a:lnTo>
                    <a:cubicBezTo>
                      <a:pt x="1179" y="1561"/>
                      <a:pt x="1199" y="1541"/>
                      <a:pt x="1224" y="1541"/>
                    </a:cubicBezTo>
                    <a:lnTo>
                      <a:pt x="1677" y="1541"/>
                    </a:lnTo>
                    <a:cubicBezTo>
                      <a:pt x="1702" y="1541"/>
                      <a:pt x="1723" y="1561"/>
                      <a:pt x="1723" y="1586"/>
                    </a:cubicBezTo>
                    <a:lnTo>
                      <a:pt x="1723" y="2040"/>
                    </a:lnTo>
                    <a:close/>
                    <a:moveTo>
                      <a:pt x="1723" y="1042"/>
                    </a:moveTo>
                    <a:cubicBezTo>
                      <a:pt x="1723" y="1067"/>
                      <a:pt x="1702" y="1088"/>
                      <a:pt x="1677" y="1088"/>
                    </a:cubicBezTo>
                    <a:lnTo>
                      <a:pt x="1224" y="1088"/>
                    </a:lnTo>
                    <a:cubicBezTo>
                      <a:pt x="1199" y="1088"/>
                      <a:pt x="1179" y="1067"/>
                      <a:pt x="1179" y="1042"/>
                    </a:cubicBezTo>
                    <a:lnTo>
                      <a:pt x="1179" y="589"/>
                    </a:lnTo>
                    <a:cubicBezTo>
                      <a:pt x="1179" y="564"/>
                      <a:pt x="1199" y="544"/>
                      <a:pt x="1224" y="544"/>
                    </a:cubicBezTo>
                    <a:lnTo>
                      <a:pt x="1677" y="544"/>
                    </a:lnTo>
                    <a:cubicBezTo>
                      <a:pt x="1702" y="544"/>
                      <a:pt x="1723" y="564"/>
                      <a:pt x="1723" y="589"/>
                    </a:cubicBezTo>
                    <a:lnTo>
                      <a:pt x="1723" y="1042"/>
                    </a:lnTo>
                    <a:close/>
                    <a:moveTo>
                      <a:pt x="2539" y="4034"/>
                    </a:moveTo>
                    <a:cubicBezTo>
                      <a:pt x="2539" y="4059"/>
                      <a:pt x="2518" y="4080"/>
                      <a:pt x="2493" y="4080"/>
                    </a:cubicBezTo>
                    <a:lnTo>
                      <a:pt x="2040" y="4080"/>
                    </a:lnTo>
                    <a:cubicBezTo>
                      <a:pt x="2015" y="4080"/>
                      <a:pt x="1995" y="4059"/>
                      <a:pt x="1995" y="4034"/>
                    </a:cubicBezTo>
                    <a:lnTo>
                      <a:pt x="1995" y="3581"/>
                    </a:lnTo>
                    <a:cubicBezTo>
                      <a:pt x="1995" y="3556"/>
                      <a:pt x="2015" y="3536"/>
                      <a:pt x="2040" y="3536"/>
                    </a:cubicBezTo>
                    <a:lnTo>
                      <a:pt x="2493" y="3536"/>
                    </a:lnTo>
                    <a:cubicBezTo>
                      <a:pt x="2518" y="3536"/>
                      <a:pt x="2539" y="3556"/>
                      <a:pt x="2539" y="3581"/>
                    </a:cubicBezTo>
                    <a:lnTo>
                      <a:pt x="2539" y="4034"/>
                    </a:lnTo>
                    <a:close/>
                    <a:moveTo>
                      <a:pt x="2539" y="3037"/>
                    </a:moveTo>
                    <a:cubicBezTo>
                      <a:pt x="2539" y="3062"/>
                      <a:pt x="2518" y="3082"/>
                      <a:pt x="2493" y="3082"/>
                    </a:cubicBezTo>
                    <a:lnTo>
                      <a:pt x="2040" y="3082"/>
                    </a:lnTo>
                    <a:cubicBezTo>
                      <a:pt x="2015" y="3082"/>
                      <a:pt x="1995" y="3062"/>
                      <a:pt x="1995" y="3037"/>
                    </a:cubicBezTo>
                    <a:lnTo>
                      <a:pt x="1995" y="2584"/>
                    </a:lnTo>
                    <a:cubicBezTo>
                      <a:pt x="1995" y="2559"/>
                      <a:pt x="2015" y="2538"/>
                      <a:pt x="2040" y="2538"/>
                    </a:cubicBezTo>
                    <a:lnTo>
                      <a:pt x="2493" y="2538"/>
                    </a:lnTo>
                    <a:cubicBezTo>
                      <a:pt x="2518" y="2538"/>
                      <a:pt x="2539" y="2559"/>
                      <a:pt x="2539" y="2584"/>
                    </a:cubicBezTo>
                    <a:lnTo>
                      <a:pt x="2539" y="3037"/>
                    </a:lnTo>
                    <a:close/>
                    <a:moveTo>
                      <a:pt x="2539" y="2040"/>
                    </a:moveTo>
                    <a:cubicBezTo>
                      <a:pt x="2539" y="2065"/>
                      <a:pt x="2518" y="2085"/>
                      <a:pt x="2493" y="2085"/>
                    </a:cubicBezTo>
                    <a:lnTo>
                      <a:pt x="2040" y="2085"/>
                    </a:lnTo>
                    <a:cubicBezTo>
                      <a:pt x="2015" y="2085"/>
                      <a:pt x="1995" y="2065"/>
                      <a:pt x="1995" y="2040"/>
                    </a:cubicBezTo>
                    <a:lnTo>
                      <a:pt x="1995" y="1586"/>
                    </a:lnTo>
                    <a:cubicBezTo>
                      <a:pt x="1995" y="1561"/>
                      <a:pt x="2015" y="1541"/>
                      <a:pt x="2040" y="1541"/>
                    </a:cubicBezTo>
                    <a:lnTo>
                      <a:pt x="2493" y="1541"/>
                    </a:lnTo>
                    <a:cubicBezTo>
                      <a:pt x="2518" y="1541"/>
                      <a:pt x="2539" y="1561"/>
                      <a:pt x="2539" y="1586"/>
                    </a:cubicBezTo>
                    <a:lnTo>
                      <a:pt x="2539" y="2040"/>
                    </a:lnTo>
                    <a:close/>
                    <a:moveTo>
                      <a:pt x="2539" y="1042"/>
                    </a:moveTo>
                    <a:cubicBezTo>
                      <a:pt x="2539" y="1067"/>
                      <a:pt x="2518" y="1088"/>
                      <a:pt x="2493" y="1088"/>
                    </a:cubicBezTo>
                    <a:lnTo>
                      <a:pt x="2040" y="1088"/>
                    </a:lnTo>
                    <a:cubicBezTo>
                      <a:pt x="2015" y="1088"/>
                      <a:pt x="1995" y="1067"/>
                      <a:pt x="1995" y="1042"/>
                    </a:cubicBezTo>
                    <a:lnTo>
                      <a:pt x="1995" y="589"/>
                    </a:lnTo>
                    <a:cubicBezTo>
                      <a:pt x="1995" y="564"/>
                      <a:pt x="2015" y="544"/>
                      <a:pt x="2040" y="544"/>
                    </a:cubicBezTo>
                    <a:lnTo>
                      <a:pt x="2493" y="544"/>
                    </a:lnTo>
                    <a:cubicBezTo>
                      <a:pt x="2518" y="544"/>
                      <a:pt x="2539" y="564"/>
                      <a:pt x="2539" y="589"/>
                    </a:cubicBezTo>
                    <a:lnTo>
                      <a:pt x="2539" y="1042"/>
                    </a:lnTo>
                    <a:close/>
                    <a:moveTo>
                      <a:pt x="6099" y="2610"/>
                    </a:moveTo>
                    <a:lnTo>
                      <a:pt x="3379" y="1845"/>
                    </a:lnTo>
                    <a:cubicBezTo>
                      <a:pt x="3321" y="1829"/>
                      <a:pt x="3264" y="1873"/>
                      <a:pt x="3264" y="1933"/>
                    </a:cubicBezTo>
                    <a:lnTo>
                      <a:pt x="3264" y="5440"/>
                    </a:lnTo>
                    <a:lnTo>
                      <a:pt x="3627" y="5440"/>
                    </a:lnTo>
                    <a:lnTo>
                      <a:pt x="3627" y="4714"/>
                    </a:lnTo>
                    <a:cubicBezTo>
                      <a:pt x="3627" y="4664"/>
                      <a:pt x="3667" y="4624"/>
                      <a:pt x="3717" y="4624"/>
                    </a:cubicBezTo>
                    <a:lnTo>
                      <a:pt x="4080" y="4624"/>
                    </a:lnTo>
                    <a:cubicBezTo>
                      <a:pt x="4130" y="4624"/>
                      <a:pt x="4171" y="4664"/>
                      <a:pt x="4171" y="4714"/>
                    </a:cubicBezTo>
                    <a:lnTo>
                      <a:pt x="4171" y="5440"/>
                    </a:lnTo>
                    <a:lnTo>
                      <a:pt x="6165" y="5440"/>
                    </a:lnTo>
                    <a:lnTo>
                      <a:pt x="6165" y="2698"/>
                    </a:lnTo>
                    <a:cubicBezTo>
                      <a:pt x="6165" y="2657"/>
                      <a:pt x="6138" y="2621"/>
                      <a:pt x="6099" y="2610"/>
                    </a:cubicBezTo>
                    <a:close/>
                    <a:moveTo>
                      <a:pt x="4171" y="4216"/>
                    </a:moveTo>
                    <a:cubicBezTo>
                      <a:pt x="4171" y="4241"/>
                      <a:pt x="4150" y="4261"/>
                      <a:pt x="4125" y="4261"/>
                    </a:cubicBezTo>
                    <a:lnTo>
                      <a:pt x="3672" y="4261"/>
                    </a:lnTo>
                    <a:cubicBezTo>
                      <a:pt x="3647" y="4261"/>
                      <a:pt x="3627" y="4241"/>
                      <a:pt x="3627" y="4216"/>
                    </a:cubicBezTo>
                    <a:lnTo>
                      <a:pt x="3627" y="3762"/>
                    </a:lnTo>
                    <a:cubicBezTo>
                      <a:pt x="3627" y="3737"/>
                      <a:pt x="3647" y="3717"/>
                      <a:pt x="3672" y="3717"/>
                    </a:cubicBezTo>
                    <a:lnTo>
                      <a:pt x="4125" y="3717"/>
                    </a:lnTo>
                    <a:cubicBezTo>
                      <a:pt x="4150" y="3717"/>
                      <a:pt x="4171" y="3737"/>
                      <a:pt x="4171" y="3762"/>
                    </a:cubicBezTo>
                    <a:lnTo>
                      <a:pt x="4171" y="4216"/>
                    </a:lnTo>
                    <a:close/>
                    <a:moveTo>
                      <a:pt x="4171" y="3218"/>
                    </a:moveTo>
                    <a:cubicBezTo>
                      <a:pt x="4171" y="3243"/>
                      <a:pt x="4150" y="3264"/>
                      <a:pt x="4125" y="3264"/>
                    </a:cubicBezTo>
                    <a:lnTo>
                      <a:pt x="3672" y="3264"/>
                    </a:lnTo>
                    <a:cubicBezTo>
                      <a:pt x="3647" y="3264"/>
                      <a:pt x="3627" y="3243"/>
                      <a:pt x="3627" y="3218"/>
                    </a:cubicBezTo>
                    <a:lnTo>
                      <a:pt x="3627" y="2765"/>
                    </a:lnTo>
                    <a:cubicBezTo>
                      <a:pt x="3627" y="2740"/>
                      <a:pt x="3647" y="2720"/>
                      <a:pt x="3672" y="2720"/>
                    </a:cubicBezTo>
                    <a:lnTo>
                      <a:pt x="4125" y="2720"/>
                    </a:lnTo>
                    <a:cubicBezTo>
                      <a:pt x="4150" y="2720"/>
                      <a:pt x="4171" y="2740"/>
                      <a:pt x="4171" y="2765"/>
                    </a:cubicBezTo>
                    <a:lnTo>
                      <a:pt x="4171" y="3218"/>
                    </a:lnTo>
                    <a:close/>
                    <a:moveTo>
                      <a:pt x="4987" y="4216"/>
                    </a:moveTo>
                    <a:cubicBezTo>
                      <a:pt x="4987" y="4241"/>
                      <a:pt x="4966" y="4261"/>
                      <a:pt x="4941" y="4261"/>
                    </a:cubicBezTo>
                    <a:lnTo>
                      <a:pt x="4488" y="4261"/>
                    </a:lnTo>
                    <a:cubicBezTo>
                      <a:pt x="4463" y="4261"/>
                      <a:pt x="4443" y="4241"/>
                      <a:pt x="4443" y="4216"/>
                    </a:cubicBezTo>
                    <a:lnTo>
                      <a:pt x="4443" y="3762"/>
                    </a:lnTo>
                    <a:cubicBezTo>
                      <a:pt x="4443" y="3737"/>
                      <a:pt x="4463" y="3717"/>
                      <a:pt x="4488" y="3717"/>
                    </a:cubicBezTo>
                    <a:lnTo>
                      <a:pt x="4941" y="3717"/>
                    </a:lnTo>
                    <a:cubicBezTo>
                      <a:pt x="4966" y="3717"/>
                      <a:pt x="4987" y="3737"/>
                      <a:pt x="4987" y="3762"/>
                    </a:cubicBezTo>
                    <a:lnTo>
                      <a:pt x="4987" y="4216"/>
                    </a:lnTo>
                    <a:close/>
                    <a:moveTo>
                      <a:pt x="4987" y="3218"/>
                    </a:moveTo>
                    <a:cubicBezTo>
                      <a:pt x="4987" y="3243"/>
                      <a:pt x="4966" y="3264"/>
                      <a:pt x="4941" y="3264"/>
                    </a:cubicBezTo>
                    <a:lnTo>
                      <a:pt x="4488" y="3264"/>
                    </a:lnTo>
                    <a:cubicBezTo>
                      <a:pt x="4463" y="3264"/>
                      <a:pt x="4443" y="3243"/>
                      <a:pt x="4443" y="3218"/>
                    </a:cubicBezTo>
                    <a:lnTo>
                      <a:pt x="4443" y="2765"/>
                    </a:lnTo>
                    <a:cubicBezTo>
                      <a:pt x="4443" y="2740"/>
                      <a:pt x="4463" y="2720"/>
                      <a:pt x="4488" y="2720"/>
                    </a:cubicBezTo>
                    <a:lnTo>
                      <a:pt x="4941" y="2720"/>
                    </a:lnTo>
                    <a:cubicBezTo>
                      <a:pt x="4966" y="2720"/>
                      <a:pt x="4987" y="2740"/>
                      <a:pt x="4987" y="2765"/>
                    </a:cubicBezTo>
                    <a:lnTo>
                      <a:pt x="4987" y="3218"/>
                    </a:lnTo>
                    <a:close/>
                    <a:moveTo>
                      <a:pt x="5803" y="4216"/>
                    </a:moveTo>
                    <a:cubicBezTo>
                      <a:pt x="5803" y="4241"/>
                      <a:pt x="5782" y="4261"/>
                      <a:pt x="5757" y="4261"/>
                    </a:cubicBezTo>
                    <a:lnTo>
                      <a:pt x="5304" y="4261"/>
                    </a:lnTo>
                    <a:cubicBezTo>
                      <a:pt x="5279" y="4261"/>
                      <a:pt x="5259" y="4241"/>
                      <a:pt x="5259" y="4216"/>
                    </a:cubicBezTo>
                    <a:lnTo>
                      <a:pt x="5259" y="3762"/>
                    </a:lnTo>
                    <a:cubicBezTo>
                      <a:pt x="5259" y="3737"/>
                      <a:pt x="5279" y="3717"/>
                      <a:pt x="5304" y="3717"/>
                    </a:cubicBezTo>
                    <a:lnTo>
                      <a:pt x="5757" y="3717"/>
                    </a:lnTo>
                    <a:cubicBezTo>
                      <a:pt x="5782" y="3717"/>
                      <a:pt x="5803" y="3737"/>
                      <a:pt x="5803" y="3762"/>
                    </a:cubicBezTo>
                    <a:lnTo>
                      <a:pt x="5803" y="4216"/>
                    </a:lnTo>
                    <a:close/>
                    <a:moveTo>
                      <a:pt x="5803" y="3218"/>
                    </a:moveTo>
                    <a:cubicBezTo>
                      <a:pt x="5803" y="3243"/>
                      <a:pt x="5782" y="3264"/>
                      <a:pt x="5757" y="3264"/>
                    </a:cubicBezTo>
                    <a:lnTo>
                      <a:pt x="5304" y="3264"/>
                    </a:lnTo>
                    <a:cubicBezTo>
                      <a:pt x="5279" y="3264"/>
                      <a:pt x="5259" y="3243"/>
                      <a:pt x="5259" y="3218"/>
                    </a:cubicBezTo>
                    <a:lnTo>
                      <a:pt x="5259" y="2765"/>
                    </a:lnTo>
                    <a:cubicBezTo>
                      <a:pt x="5259" y="2740"/>
                      <a:pt x="5279" y="2720"/>
                      <a:pt x="5304" y="2720"/>
                    </a:cubicBezTo>
                    <a:lnTo>
                      <a:pt x="5757" y="2720"/>
                    </a:lnTo>
                    <a:cubicBezTo>
                      <a:pt x="5782" y="2720"/>
                      <a:pt x="5803" y="2740"/>
                      <a:pt x="5803" y="2765"/>
                    </a:cubicBezTo>
                    <a:lnTo>
                      <a:pt x="5803" y="321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  <p:grpSp>
            <p:nvGrpSpPr>
              <p:cNvPr id="28" name="ïṧ1ïde"/>
              <p:cNvGrpSpPr/>
              <p:nvPr/>
            </p:nvGrpSpPr>
            <p:grpSpPr>
              <a:xfrm>
                <a:off x="660400" y="1560626"/>
                <a:ext cx="3421582" cy="1308761"/>
                <a:chOff x="8211000" y="1130300"/>
                <a:chExt cx="3307900" cy="1308761"/>
              </a:xfrm>
            </p:grpSpPr>
            <p:sp>
              <p:nvSpPr>
                <p:cNvPr id="30" name="íŝļïde"/>
                <p:cNvSpPr txBox="1"/>
                <p:nvPr/>
              </p:nvSpPr>
              <p:spPr bwMode="auto">
                <a:xfrm>
                  <a:off x="8211000" y="1130300"/>
                  <a:ext cx="3307900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0" marR="0" lvl="0" indent="0" algn="l" defTabSz="913765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阿里巴巴普惠体" panose="00020600040101010101" pitchFamily="18" charset="-122"/>
                    </a:rPr>
                    <a:t>添加标题内容</a:t>
                  </a:r>
                  <a:endParaRPr kumimoji="0" lang="en-US" altLang="zh-CN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31" name="ïṡḻïḋé"/>
                <p:cNvSpPr/>
                <p:nvPr/>
              </p:nvSpPr>
              <p:spPr bwMode="auto">
                <a:xfrm>
                  <a:off x="8211000" y="1572106"/>
                  <a:ext cx="3307900" cy="8669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r>
                    <a:rPr lang="zh-CN" altLang="en-US" sz="1100" dirty="0"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</p:txBody>
            </p:sp>
          </p:grpSp>
          <p:cxnSp>
            <p:nvCxnSpPr>
              <p:cNvPr id="29" name="直接连接符 28"/>
              <p:cNvCxnSpPr/>
              <p:nvPr/>
            </p:nvCxnSpPr>
            <p:spPr>
              <a:xfrm>
                <a:off x="660400" y="2002431"/>
                <a:ext cx="3680600" cy="0"/>
              </a:xfrm>
              <a:prstGeom prst="line">
                <a:avLst/>
              </a:prstGeom>
              <a:ln w="3175" cap="rnd">
                <a:solidFill>
                  <a:schemeClr val="tx2">
                    <a:lumMod val="90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íSľíḍé"/>
            <p:cNvGrpSpPr/>
            <p:nvPr/>
          </p:nvGrpSpPr>
          <p:grpSpPr>
            <a:xfrm>
              <a:off x="7838300" y="1359000"/>
              <a:ext cx="3680600" cy="1308761"/>
              <a:chOff x="7838300" y="1560626"/>
              <a:chExt cx="3680600" cy="1308761"/>
            </a:xfrm>
          </p:grpSpPr>
          <p:sp>
            <p:nvSpPr>
              <p:cNvPr id="22" name="îšḷíḍe"/>
              <p:cNvSpPr/>
              <p:nvPr/>
            </p:nvSpPr>
            <p:spPr bwMode="auto">
              <a:xfrm>
                <a:off x="7857583" y="1638677"/>
                <a:ext cx="354658" cy="312462"/>
              </a:xfrm>
              <a:custGeom>
                <a:avLst/>
                <a:gdLst>
                  <a:gd name="T0" fmla="*/ 0 w 6165"/>
                  <a:gd name="T1" fmla="*/ 90 h 5440"/>
                  <a:gd name="T2" fmla="*/ 363 w 6165"/>
                  <a:gd name="T3" fmla="*/ 4624 h 5440"/>
                  <a:gd name="T4" fmla="*/ 907 w 6165"/>
                  <a:gd name="T5" fmla="*/ 4624 h 5440"/>
                  <a:gd name="T6" fmla="*/ 2901 w 6165"/>
                  <a:gd name="T7" fmla="*/ 90 h 5440"/>
                  <a:gd name="T8" fmla="*/ 861 w 6165"/>
                  <a:gd name="T9" fmla="*/ 4080 h 5440"/>
                  <a:gd name="T10" fmla="*/ 363 w 6165"/>
                  <a:gd name="T11" fmla="*/ 3581 h 5440"/>
                  <a:gd name="T12" fmla="*/ 907 w 6165"/>
                  <a:gd name="T13" fmla="*/ 3581 h 5440"/>
                  <a:gd name="T14" fmla="*/ 861 w 6165"/>
                  <a:gd name="T15" fmla="*/ 3082 h 5440"/>
                  <a:gd name="T16" fmla="*/ 363 w 6165"/>
                  <a:gd name="T17" fmla="*/ 2584 h 5440"/>
                  <a:gd name="T18" fmla="*/ 907 w 6165"/>
                  <a:gd name="T19" fmla="*/ 2584 h 5440"/>
                  <a:gd name="T20" fmla="*/ 861 w 6165"/>
                  <a:gd name="T21" fmla="*/ 2085 h 5440"/>
                  <a:gd name="T22" fmla="*/ 363 w 6165"/>
                  <a:gd name="T23" fmla="*/ 1586 h 5440"/>
                  <a:gd name="T24" fmla="*/ 907 w 6165"/>
                  <a:gd name="T25" fmla="*/ 1586 h 5440"/>
                  <a:gd name="T26" fmla="*/ 861 w 6165"/>
                  <a:gd name="T27" fmla="*/ 1088 h 5440"/>
                  <a:gd name="T28" fmla="*/ 363 w 6165"/>
                  <a:gd name="T29" fmla="*/ 589 h 5440"/>
                  <a:gd name="T30" fmla="*/ 907 w 6165"/>
                  <a:gd name="T31" fmla="*/ 589 h 5440"/>
                  <a:gd name="T32" fmla="*/ 1677 w 6165"/>
                  <a:gd name="T33" fmla="*/ 4080 h 5440"/>
                  <a:gd name="T34" fmla="*/ 1179 w 6165"/>
                  <a:gd name="T35" fmla="*/ 3581 h 5440"/>
                  <a:gd name="T36" fmla="*/ 1723 w 6165"/>
                  <a:gd name="T37" fmla="*/ 3581 h 5440"/>
                  <a:gd name="T38" fmla="*/ 1677 w 6165"/>
                  <a:gd name="T39" fmla="*/ 3082 h 5440"/>
                  <a:gd name="T40" fmla="*/ 1179 w 6165"/>
                  <a:gd name="T41" fmla="*/ 2584 h 5440"/>
                  <a:gd name="T42" fmla="*/ 1723 w 6165"/>
                  <a:gd name="T43" fmla="*/ 2584 h 5440"/>
                  <a:gd name="T44" fmla="*/ 1677 w 6165"/>
                  <a:gd name="T45" fmla="*/ 2085 h 5440"/>
                  <a:gd name="T46" fmla="*/ 1179 w 6165"/>
                  <a:gd name="T47" fmla="*/ 1586 h 5440"/>
                  <a:gd name="T48" fmla="*/ 1723 w 6165"/>
                  <a:gd name="T49" fmla="*/ 1586 h 5440"/>
                  <a:gd name="T50" fmla="*/ 1677 w 6165"/>
                  <a:gd name="T51" fmla="*/ 1088 h 5440"/>
                  <a:gd name="T52" fmla="*/ 1179 w 6165"/>
                  <a:gd name="T53" fmla="*/ 589 h 5440"/>
                  <a:gd name="T54" fmla="*/ 1723 w 6165"/>
                  <a:gd name="T55" fmla="*/ 589 h 5440"/>
                  <a:gd name="T56" fmla="*/ 2493 w 6165"/>
                  <a:gd name="T57" fmla="*/ 4080 h 5440"/>
                  <a:gd name="T58" fmla="*/ 1995 w 6165"/>
                  <a:gd name="T59" fmla="*/ 3581 h 5440"/>
                  <a:gd name="T60" fmla="*/ 2539 w 6165"/>
                  <a:gd name="T61" fmla="*/ 3581 h 5440"/>
                  <a:gd name="T62" fmla="*/ 2493 w 6165"/>
                  <a:gd name="T63" fmla="*/ 3082 h 5440"/>
                  <a:gd name="T64" fmla="*/ 1995 w 6165"/>
                  <a:gd name="T65" fmla="*/ 2584 h 5440"/>
                  <a:gd name="T66" fmla="*/ 2539 w 6165"/>
                  <a:gd name="T67" fmla="*/ 2584 h 5440"/>
                  <a:gd name="T68" fmla="*/ 2493 w 6165"/>
                  <a:gd name="T69" fmla="*/ 2085 h 5440"/>
                  <a:gd name="T70" fmla="*/ 1995 w 6165"/>
                  <a:gd name="T71" fmla="*/ 1586 h 5440"/>
                  <a:gd name="T72" fmla="*/ 2539 w 6165"/>
                  <a:gd name="T73" fmla="*/ 1586 h 5440"/>
                  <a:gd name="T74" fmla="*/ 2493 w 6165"/>
                  <a:gd name="T75" fmla="*/ 1088 h 5440"/>
                  <a:gd name="T76" fmla="*/ 1995 w 6165"/>
                  <a:gd name="T77" fmla="*/ 589 h 5440"/>
                  <a:gd name="T78" fmla="*/ 2539 w 6165"/>
                  <a:gd name="T79" fmla="*/ 589 h 5440"/>
                  <a:gd name="T80" fmla="*/ 3379 w 6165"/>
                  <a:gd name="T81" fmla="*/ 1845 h 5440"/>
                  <a:gd name="T82" fmla="*/ 3627 w 6165"/>
                  <a:gd name="T83" fmla="*/ 5440 h 5440"/>
                  <a:gd name="T84" fmla="*/ 4080 w 6165"/>
                  <a:gd name="T85" fmla="*/ 4624 h 5440"/>
                  <a:gd name="T86" fmla="*/ 6165 w 6165"/>
                  <a:gd name="T87" fmla="*/ 5440 h 5440"/>
                  <a:gd name="T88" fmla="*/ 4171 w 6165"/>
                  <a:gd name="T89" fmla="*/ 4216 h 5440"/>
                  <a:gd name="T90" fmla="*/ 3627 w 6165"/>
                  <a:gd name="T91" fmla="*/ 4216 h 5440"/>
                  <a:gd name="T92" fmla="*/ 4125 w 6165"/>
                  <a:gd name="T93" fmla="*/ 3717 h 5440"/>
                  <a:gd name="T94" fmla="*/ 4171 w 6165"/>
                  <a:gd name="T95" fmla="*/ 3218 h 5440"/>
                  <a:gd name="T96" fmla="*/ 3627 w 6165"/>
                  <a:gd name="T97" fmla="*/ 3218 h 5440"/>
                  <a:gd name="T98" fmla="*/ 4125 w 6165"/>
                  <a:gd name="T99" fmla="*/ 2720 h 5440"/>
                  <a:gd name="T100" fmla="*/ 4987 w 6165"/>
                  <a:gd name="T101" fmla="*/ 4216 h 5440"/>
                  <a:gd name="T102" fmla="*/ 4443 w 6165"/>
                  <a:gd name="T103" fmla="*/ 4216 h 5440"/>
                  <a:gd name="T104" fmla="*/ 4941 w 6165"/>
                  <a:gd name="T105" fmla="*/ 3717 h 5440"/>
                  <a:gd name="T106" fmla="*/ 4987 w 6165"/>
                  <a:gd name="T107" fmla="*/ 3218 h 5440"/>
                  <a:gd name="T108" fmla="*/ 4443 w 6165"/>
                  <a:gd name="T109" fmla="*/ 3218 h 5440"/>
                  <a:gd name="T110" fmla="*/ 4941 w 6165"/>
                  <a:gd name="T111" fmla="*/ 2720 h 5440"/>
                  <a:gd name="T112" fmla="*/ 5803 w 6165"/>
                  <a:gd name="T113" fmla="*/ 4216 h 5440"/>
                  <a:gd name="T114" fmla="*/ 5259 w 6165"/>
                  <a:gd name="T115" fmla="*/ 4216 h 5440"/>
                  <a:gd name="T116" fmla="*/ 5757 w 6165"/>
                  <a:gd name="T117" fmla="*/ 3717 h 5440"/>
                  <a:gd name="T118" fmla="*/ 5803 w 6165"/>
                  <a:gd name="T119" fmla="*/ 3218 h 5440"/>
                  <a:gd name="T120" fmla="*/ 5259 w 6165"/>
                  <a:gd name="T121" fmla="*/ 3218 h 5440"/>
                  <a:gd name="T122" fmla="*/ 5757 w 6165"/>
                  <a:gd name="T123" fmla="*/ 2720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65" h="5440">
                    <a:moveTo>
                      <a:pt x="2811" y="0"/>
                    </a:moveTo>
                    <a:lnTo>
                      <a:pt x="91" y="0"/>
                    </a:lnTo>
                    <a:cubicBezTo>
                      <a:pt x="41" y="0"/>
                      <a:pt x="0" y="40"/>
                      <a:pt x="0" y="90"/>
                    </a:cubicBezTo>
                    <a:lnTo>
                      <a:pt x="0" y="5440"/>
                    </a:lnTo>
                    <a:lnTo>
                      <a:pt x="363" y="5440"/>
                    </a:lnTo>
                    <a:lnTo>
                      <a:pt x="363" y="4624"/>
                    </a:lnTo>
                    <a:cubicBezTo>
                      <a:pt x="363" y="4574"/>
                      <a:pt x="403" y="4533"/>
                      <a:pt x="453" y="4533"/>
                    </a:cubicBezTo>
                    <a:lnTo>
                      <a:pt x="816" y="4533"/>
                    </a:lnTo>
                    <a:cubicBezTo>
                      <a:pt x="866" y="4533"/>
                      <a:pt x="907" y="4574"/>
                      <a:pt x="907" y="4624"/>
                    </a:cubicBezTo>
                    <a:lnTo>
                      <a:pt x="907" y="5440"/>
                    </a:lnTo>
                    <a:lnTo>
                      <a:pt x="2901" y="5440"/>
                    </a:lnTo>
                    <a:lnTo>
                      <a:pt x="2901" y="90"/>
                    </a:lnTo>
                    <a:cubicBezTo>
                      <a:pt x="2901" y="40"/>
                      <a:pt x="2861" y="0"/>
                      <a:pt x="2811" y="0"/>
                    </a:cubicBezTo>
                    <a:close/>
                    <a:moveTo>
                      <a:pt x="907" y="4034"/>
                    </a:moveTo>
                    <a:cubicBezTo>
                      <a:pt x="907" y="4059"/>
                      <a:pt x="886" y="4080"/>
                      <a:pt x="861" y="4080"/>
                    </a:cubicBezTo>
                    <a:lnTo>
                      <a:pt x="408" y="4080"/>
                    </a:lnTo>
                    <a:cubicBezTo>
                      <a:pt x="383" y="4080"/>
                      <a:pt x="363" y="4059"/>
                      <a:pt x="363" y="4034"/>
                    </a:cubicBezTo>
                    <a:lnTo>
                      <a:pt x="363" y="3581"/>
                    </a:lnTo>
                    <a:cubicBezTo>
                      <a:pt x="363" y="3556"/>
                      <a:pt x="383" y="3536"/>
                      <a:pt x="408" y="3536"/>
                    </a:cubicBezTo>
                    <a:lnTo>
                      <a:pt x="861" y="3536"/>
                    </a:lnTo>
                    <a:cubicBezTo>
                      <a:pt x="886" y="3536"/>
                      <a:pt x="907" y="3556"/>
                      <a:pt x="907" y="3581"/>
                    </a:cubicBezTo>
                    <a:lnTo>
                      <a:pt x="907" y="4034"/>
                    </a:lnTo>
                    <a:close/>
                    <a:moveTo>
                      <a:pt x="907" y="3037"/>
                    </a:moveTo>
                    <a:cubicBezTo>
                      <a:pt x="907" y="3062"/>
                      <a:pt x="886" y="3082"/>
                      <a:pt x="861" y="3082"/>
                    </a:cubicBezTo>
                    <a:lnTo>
                      <a:pt x="408" y="3082"/>
                    </a:lnTo>
                    <a:cubicBezTo>
                      <a:pt x="383" y="3082"/>
                      <a:pt x="363" y="3062"/>
                      <a:pt x="363" y="3037"/>
                    </a:cubicBezTo>
                    <a:lnTo>
                      <a:pt x="363" y="2584"/>
                    </a:lnTo>
                    <a:cubicBezTo>
                      <a:pt x="363" y="2559"/>
                      <a:pt x="383" y="2538"/>
                      <a:pt x="408" y="2538"/>
                    </a:cubicBezTo>
                    <a:lnTo>
                      <a:pt x="861" y="2538"/>
                    </a:lnTo>
                    <a:cubicBezTo>
                      <a:pt x="886" y="2538"/>
                      <a:pt x="907" y="2559"/>
                      <a:pt x="907" y="2584"/>
                    </a:cubicBezTo>
                    <a:lnTo>
                      <a:pt x="907" y="3037"/>
                    </a:lnTo>
                    <a:close/>
                    <a:moveTo>
                      <a:pt x="907" y="2040"/>
                    </a:moveTo>
                    <a:cubicBezTo>
                      <a:pt x="907" y="2065"/>
                      <a:pt x="886" y="2085"/>
                      <a:pt x="861" y="2085"/>
                    </a:cubicBezTo>
                    <a:lnTo>
                      <a:pt x="408" y="2085"/>
                    </a:lnTo>
                    <a:cubicBezTo>
                      <a:pt x="383" y="2085"/>
                      <a:pt x="363" y="2065"/>
                      <a:pt x="363" y="2040"/>
                    </a:cubicBezTo>
                    <a:lnTo>
                      <a:pt x="363" y="1586"/>
                    </a:lnTo>
                    <a:cubicBezTo>
                      <a:pt x="363" y="1561"/>
                      <a:pt x="383" y="1541"/>
                      <a:pt x="408" y="1541"/>
                    </a:cubicBezTo>
                    <a:lnTo>
                      <a:pt x="861" y="1541"/>
                    </a:lnTo>
                    <a:cubicBezTo>
                      <a:pt x="886" y="1541"/>
                      <a:pt x="907" y="1561"/>
                      <a:pt x="907" y="1586"/>
                    </a:cubicBezTo>
                    <a:lnTo>
                      <a:pt x="907" y="2040"/>
                    </a:lnTo>
                    <a:close/>
                    <a:moveTo>
                      <a:pt x="907" y="1042"/>
                    </a:moveTo>
                    <a:cubicBezTo>
                      <a:pt x="907" y="1067"/>
                      <a:pt x="886" y="1088"/>
                      <a:pt x="861" y="1088"/>
                    </a:cubicBezTo>
                    <a:lnTo>
                      <a:pt x="408" y="1088"/>
                    </a:lnTo>
                    <a:cubicBezTo>
                      <a:pt x="383" y="1088"/>
                      <a:pt x="363" y="1067"/>
                      <a:pt x="363" y="1042"/>
                    </a:cubicBezTo>
                    <a:lnTo>
                      <a:pt x="363" y="589"/>
                    </a:lnTo>
                    <a:cubicBezTo>
                      <a:pt x="363" y="564"/>
                      <a:pt x="383" y="544"/>
                      <a:pt x="408" y="544"/>
                    </a:cubicBezTo>
                    <a:lnTo>
                      <a:pt x="861" y="544"/>
                    </a:lnTo>
                    <a:cubicBezTo>
                      <a:pt x="886" y="544"/>
                      <a:pt x="907" y="564"/>
                      <a:pt x="907" y="589"/>
                    </a:cubicBezTo>
                    <a:lnTo>
                      <a:pt x="907" y="1042"/>
                    </a:lnTo>
                    <a:close/>
                    <a:moveTo>
                      <a:pt x="1723" y="4034"/>
                    </a:moveTo>
                    <a:cubicBezTo>
                      <a:pt x="1723" y="4059"/>
                      <a:pt x="1702" y="4080"/>
                      <a:pt x="1677" y="4080"/>
                    </a:cubicBezTo>
                    <a:lnTo>
                      <a:pt x="1224" y="4080"/>
                    </a:lnTo>
                    <a:cubicBezTo>
                      <a:pt x="1199" y="4080"/>
                      <a:pt x="1179" y="4059"/>
                      <a:pt x="1179" y="4034"/>
                    </a:cubicBezTo>
                    <a:lnTo>
                      <a:pt x="1179" y="3581"/>
                    </a:lnTo>
                    <a:cubicBezTo>
                      <a:pt x="1179" y="3556"/>
                      <a:pt x="1199" y="3536"/>
                      <a:pt x="1224" y="3536"/>
                    </a:cubicBezTo>
                    <a:lnTo>
                      <a:pt x="1677" y="3536"/>
                    </a:lnTo>
                    <a:cubicBezTo>
                      <a:pt x="1702" y="3536"/>
                      <a:pt x="1723" y="3556"/>
                      <a:pt x="1723" y="3581"/>
                    </a:cubicBezTo>
                    <a:lnTo>
                      <a:pt x="1723" y="4034"/>
                    </a:lnTo>
                    <a:close/>
                    <a:moveTo>
                      <a:pt x="1723" y="3037"/>
                    </a:moveTo>
                    <a:cubicBezTo>
                      <a:pt x="1723" y="3062"/>
                      <a:pt x="1702" y="3082"/>
                      <a:pt x="1677" y="3082"/>
                    </a:cubicBezTo>
                    <a:lnTo>
                      <a:pt x="1224" y="3082"/>
                    </a:lnTo>
                    <a:cubicBezTo>
                      <a:pt x="1199" y="3082"/>
                      <a:pt x="1179" y="3062"/>
                      <a:pt x="1179" y="3037"/>
                    </a:cubicBezTo>
                    <a:lnTo>
                      <a:pt x="1179" y="2584"/>
                    </a:lnTo>
                    <a:cubicBezTo>
                      <a:pt x="1179" y="2559"/>
                      <a:pt x="1199" y="2538"/>
                      <a:pt x="1224" y="2538"/>
                    </a:cubicBezTo>
                    <a:lnTo>
                      <a:pt x="1677" y="2538"/>
                    </a:lnTo>
                    <a:cubicBezTo>
                      <a:pt x="1702" y="2538"/>
                      <a:pt x="1723" y="2559"/>
                      <a:pt x="1723" y="2584"/>
                    </a:cubicBezTo>
                    <a:lnTo>
                      <a:pt x="1723" y="3037"/>
                    </a:lnTo>
                    <a:close/>
                    <a:moveTo>
                      <a:pt x="1723" y="2040"/>
                    </a:moveTo>
                    <a:cubicBezTo>
                      <a:pt x="1723" y="2065"/>
                      <a:pt x="1702" y="2085"/>
                      <a:pt x="1677" y="2085"/>
                    </a:cubicBezTo>
                    <a:lnTo>
                      <a:pt x="1224" y="2085"/>
                    </a:lnTo>
                    <a:cubicBezTo>
                      <a:pt x="1199" y="2085"/>
                      <a:pt x="1179" y="2065"/>
                      <a:pt x="1179" y="2040"/>
                    </a:cubicBezTo>
                    <a:lnTo>
                      <a:pt x="1179" y="1586"/>
                    </a:lnTo>
                    <a:cubicBezTo>
                      <a:pt x="1179" y="1561"/>
                      <a:pt x="1199" y="1541"/>
                      <a:pt x="1224" y="1541"/>
                    </a:cubicBezTo>
                    <a:lnTo>
                      <a:pt x="1677" y="1541"/>
                    </a:lnTo>
                    <a:cubicBezTo>
                      <a:pt x="1702" y="1541"/>
                      <a:pt x="1723" y="1561"/>
                      <a:pt x="1723" y="1586"/>
                    </a:cubicBezTo>
                    <a:lnTo>
                      <a:pt x="1723" y="2040"/>
                    </a:lnTo>
                    <a:close/>
                    <a:moveTo>
                      <a:pt x="1723" y="1042"/>
                    </a:moveTo>
                    <a:cubicBezTo>
                      <a:pt x="1723" y="1067"/>
                      <a:pt x="1702" y="1088"/>
                      <a:pt x="1677" y="1088"/>
                    </a:cubicBezTo>
                    <a:lnTo>
                      <a:pt x="1224" y="1088"/>
                    </a:lnTo>
                    <a:cubicBezTo>
                      <a:pt x="1199" y="1088"/>
                      <a:pt x="1179" y="1067"/>
                      <a:pt x="1179" y="1042"/>
                    </a:cubicBezTo>
                    <a:lnTo>
                      <a:pt x="1179" y="589"/>
                    </a:lnTo>
                    <a:cubicBezTo>
                      <a:pt x="1179" y="564"/>
                      <a:pt x="1199" y="544"/>
                      <a:pt x="1224" y="544"/>
                    </a:cubicBezTo>
                    <a:lnTo>
                      <a:pt x="1677" y="544"/>
                    </a:lnTo>
                    <a:cubicBezTo>
                      <a:pt x="1702" y="544"/>
                      <a:pt x="1723" y="564"/>
                      <a:pt x="1723" y="589"/>
                    </a:cubicBezTo>
                    <a:lnTo>
                      <a:pt x="1723" y="1042"/>
                    </a:lnTo>
                    <a:close/>
                    <a:moveTo>
                      <a:pt x="2539" y="4034"/>
                    </a:moveTo>
                    <a:cubicBezTo>
                      <a:pt x="2539" y="4059"/>
                      <a:pt x="2518" y="4080"/>
                      <a:pt x="2493" y="4080"/>
                    </a:cubicBezTo>
                    <a:lnTo>
                      <a:pt x="2040" y="4080"/>
                    </a:lnTo>
                    <a:cubicBezTo>
                      <a:pt x="2015" y="4080"/>
                      <a:pt x="1995" y="4059"/>
                      <a:pt x="1995" y="4034"/>
                    </a:cubicBezTo>
                    <a:lnTo>
                      <a:pt x="1995" y="3581"/>
                    </a:lnTo>
                    <a:cubicBezTo>
                      <a:pt x="1995" y="3556"/>
                      <a:pt x="2015" y="3536"/>
                      <a:pt x="2040" y="3536"/>
                    </a:cubicBezTo>
                    <a:lnTo>
                      <a:pt x="2493" y="3536"/>
                    </a:lnTo>
                    <a:cubicBezTo>
                      <a:pt x="2518" y="3536"/>
                      <a:pt x="2539" y="3556"/>
                      <a:pt x="2539" y="3581"/>
                    </a:cubicBezTo>
                    <a:lnTo>
                      <a:pt x="2539" y="4034"/>
                    </a:lnTo>
                    <a:close/>
                    <a:moveTo>
                      <a:pt x="2539" y="3037"/>
                    </a:moveTo>
                    <a:cubicBezTo>
                      <a:pt x="2539" y="3062"/>
                      <a:pt x="2518" y="3082"/>
                      <a:pt x="2493" y="3082"/>
                    </a:cubicBezTo>
                    <a:lnTo>
                      <a:pt x="2040" y="3082"/>
                    </a:lnTo>
                    <a:cubicBezTo>
                      <a:pt x="2015" y="3082"/>
                      <a:pt x="1995" y="3062"/>
                      <a:pt x="1995" y="3037"/>
                    </a:cubicBezTo>
                    <a:lnTo>
                      <a:pt x="1995" y="2584"/>
                    </a:lnTo>
                    <a:cubicBezTo>
                      <a:pt x="1995" y="2559"/>
                      <a:pt x="2015" y="2538"/>
                      <a:pt x="2040" y="2538"/>
                    </a:cubicBezTo>
                    <a:lnTo>
                      <a:pt x="2493" y="2538"/>
                    </a:lnTo>
                    <a:cubicBezTo>
                      <a:pt x="2518" y="2538"/>
                      <a:pt x="2539" y="2559"/>
                      <a:pt x="2539" y="2584"/>
                    </a:cubicBezTo>
                    <a:lnTo>
                      <a:pt x="2539" y="3037"/>
                    </a:lnTo>
                    <a:close/>
                    <a:moveTo>
                      <a:pt x="2539" y="2040"/>
                    </a:moveTo>
                    <a:cubicBezTo>
                      <a:pt x="2539" y="2065"/>
                      <a:pt x="2518" y="2085"/>
                      <a:pt x="2493" y="2085"/>
                    </a:cubicBezTo>
                    <a:lnTo>
                      <a:pt x="2040" y="2085"/>
                    </a:lnTo>
                    <a:cubicBezTo>
                      <a:pt x="2015" y="2085"/>
                      <a:pt x="1995" y="2065"/>
                      <a:pt x="1995" y="2040"/>
                    </a:cubicBezTo>
                    <a:lnTo>
                      <a:pt x="1995" y="1586"/>
                    </a:lnTo>
                    <a:cubicBezTo>
                      <a:pt x="1995" y="1561"/>
                      <a:pt x="2015" y="1541"/>
                      <a:pt x="2040" y="1541"/>
                    </a:cubicBezTo>
                    <a:lnTo>
                      <a:pt x="2493" y="1541"/>
                    </a:lnTo>
                    <a:cubicBezTo>
                      <a:pt x="2518" y="1541"/>
                      <a:pt x="2539" y="1561"/>
                      <a:pt x="2539" y="1586"/>
                    </a:cubicBezTo>
                    <a:lnTo>
                      <a:pt x="2539" y="2040"/>
                    </a:lnTo>
                    <a:close/>
                    <a:moveTo>
                      <a:pt x="2539" y="1042"/>
                    </a:moveTo>
                    <a:cubicBezTo>
                      <a:pt x="2539" y="1067"/>
                      <a:pt x="2518" y="1088"/>
                      <a:pt x="2493" y="1088"/>
                    </a:cubicBezTo>
                    <a:lnTo>
                      <a:pt x="2040" y="1088"/>
                    </a:lnTo>
                    <a:cubicBezTo>
                      <a:pt x="2015" y="1088"/>
                      <a:pt x="1995" y="1067"/>
                      <a:pt x="1995" y="1042"/>
                    </a:cubicBezTo>
                    <a:lnTo>
                      <a:pt x="1995" y="589"/>
                    </a:lnTo>
                    <a:cubicBezTo>
                      <a:pt x="1995" y="564"/>
                      <a:pt x="2015" y="544"/>
                      <a:pt x="2040" y="544"/>
                    </a:cubicBezTo>
                    <a:lnTo>
                      <a:pt x="2493" y="544"/>
                    </a:lnTo>
                    <a:cubicBezTo>
                      <a:pt x="2518" y="544"/>
                      <a:pt x="2539" y="564"/>
                      <a:pt x="2539" y="589"/>
                    </a:cubicBezTo>
                    <a:lnTo>
                      <a:pt x="2539" y="1042"/>
                    </a:lnTo>
                    <a:close/>
                    <a:moveTo>
                      <a:pt x="6099" y="2610"/>
                    </a:moveTo>
                    <a:lnTo>
                      <a:pt x="3379" y="1845"/>
                    </a:lnTo>
                    <a:cubicBezTo>
                      <a:pt x="3321" y="1829"/>
                      <a:pt x="3264" y="1873"/>
                      <a:pt x="3264" y="1933"/>
                    </a:cubicBezTo>
                    <a:lnTo>
                      <a:pt x="3264" y="5440"/>
                    </a:lnTo>
                    <a:lnTo>
                      <a:pt x="3627" y="5440"/>
                    </a:lnTo>
                    <a:lnTo>
                      <a:pt x="3627" y="4714"/>
                    </a:lnTo>
                    <a:cubicBezTo>
                      <a:pt x="3627" y="4664"/>
                      <a:pt x="3667" y="4624"/>
                      <a:pt x="3717" y="4624"/>
                    </a:cubicBezTo>
                    <a:lnTo>
                      <a:pt x="4080" y="4624"/>
                    </a:lnTo>
                    <a:cubicBezTo>
                      <a:pt x="4130" y="4624"/>
                      <a:pt x="4171" y="4664"/>
                      <a:pt x="4171" y="4714"/>
                    </a:cubicBezTo>
                    <a:lnTo>
                      <a:pt x="4171" y="5440"/>
                    </a:lnTo>
                    <a:lnTo>
                      <a:pt x="6165" y="5440"/>
                    </a:lnTo>
                    <a:lnTo>
                      <a:pt x="6165" y="2698"/>
                    </a:lnTo>
                    <a:cubicBezTo>
                      <a:pt x="6165" y="2657"/>
                      <a:pt x="6138" y="2621"/>
                      <a:pt x="6099" y="2610"/>
                    </a:cubicBezTo>
                    <a:close/>
                    <a:moveTo>
                      <a:pt x="4171" y="4216"/>
                    </a:moveTo>
                    <a:cubicBezTo>
                      <a:pt x="4171" y="4241"/>
                      <a:pt x="4150" y="4261"/>
                      <a:pt x="4125" y="4261"/>
                    </a:cubicBezTo>
                    <a:lnTo>
                      <a:pt x="3672" y="4261"/>
                    </a:lnTo>
                    <a:cubicBezTo>
                      <a:pt x="3647" y="4261"/>
                      <a:pt x="3627" y="4241"/>
                      <a:pt x="3627" y="4216"/>
                    </a:cubicBezTo>
                    <a:lnTo>
                      <a:pt x="3627" y="3762"/>
                    </a:lnTo>
                    <a:cubicBezTo>
                      <a:pt x="3627" y="3737"/>
                      <a:pt x="3647" y="3717"/>
                      <a:pt x="3672" y="3717"/>
                    </a:cubicBezTo>
                    <a:lnTo>
                      <a:pt x="4125" y="3717"/>
                    </a:lnTo>
                    <a:cubicBezTo>
                      <a:pt x="4150" y="3717"/>
                      <a:pt x="4171" y="3737"/>
                      <a:pt x="4171" y="3762"/>
                    </a:cubicBezTo>
                    <a:lnTo>
                      <a:pt x="4171" y="4216"/>
                    </a:lnTo>
                    <a:close/>
                    <a:moveTo>
                      <a:pt x="4171" y="3218"/>
                    </a:moveTo>
                    <a:cubicBezTo>
                      <a:pt x="4171" y="3243"/>
                      <a:pt x="4150" y="3264"/>
                      <a:pt x="4125" y="3264"/>
                    </a:cubicBezTo>
                    <a:lnTo>
                      <a:pt x="3672" y="3264"/>
                    </a:lnTo>
                    <a:cubicBezTo>
                      <a:pt x="3647" y="3264"/>
                      <a:pt x="3627" y="3243"/>
                      <a:pt x="3627" y="3218"/>
                    </a:cubicBezTo>
                    <a:lnTo>
                      <a:pt x="3627" y="2765"/>
                    </a:lnTo>
                    <a:cubicBezTo>
                      <a:pt x="3627" y="2740"/>
                      <a:pt x="3647" y="2720"/>
                      <a:pt x="3672" y="2720"/>
                    </a:cubicBezTo>
                    <a:lnTo>
                      <a:pt x="4125" y="2720"/>
                    </a:lnTo>
                    <a:cubicBezTo>
                      <a:pt x="4150" y="2720"/>
                      <a:pt x="4171" y="2740"/>
                      <a:pt x="4171" y="2765"/>
                    </a:cubicBezTo>
                    <a:lnTo>
                      <a:pt x="4171" y="3218"/>
                    </a:lnTo>
                    <a:close/>
                    <a:moveTo>
                      <a:pt x="4987" y="4216"/>
                    </a:moveTo>
                    <a:cubicBezTo>
                      <a:pt x="4987" y="4241"/>
                      <a:pt x="4966" y="4261"/>
                      <a:pt x="4941" y="4261"/>
                    </a:cubicBezTo>
                    <a:lnTo>
                      <a:pt x="4488" y="4261"/>
                    </a:lnTo>
                    <a:cubicBezTo>
                      <a:pt x="4463" y="4261"/>
                      <a:pt x="4443" y="4241"/>
                      <a:pt x="4443" y="4216"/>
                    </a:cubicBezTo>
                    <a:lnTo>
                      <a:pt x="4443" y="3762"/>
                    </a:lnTo>
                    <a:cubicBezTo>
                      <a:pt x="4443" y="3737"/>
                      <a:pt x="4463" y="3717"/>
                      <a:pt x="4488" y="3717"/>
                    </a:cubicBezTo>
                    <a:lnTo>
                      <a:pt x="4941" y="3717"/>
                    </a:lnTo>
                    <a:cubicBezTo>
                      <a:pt x="4966" y="3717"/>
                      <a:pt x="4987" y="3737"/>
                      <a:pt x="4987" y="3762"/>
                    </a:cubicBezTo>
                    <a:lnTo>
                      <a:pt x="4987" y="4216"/>
                    </a:lnTo>
                    <a:close/>
                    <a:moveTo>
                      <a:pt x="4987" y="3218"/>
                    </a:moveTo>
                    <a:cubicBezTo>
                      <a:pt x="4987" y="3243"/>
                      <a:pt x="4966" y="3264"/>
                      <a:pt x="4941" y="3264"/>
                    </a:cubicBezTo>
                    <a:lnTo>
                      <a:pt x="4488" y="3264"/>
                    </a:lnTo>
                    <a:cubicBezTo>
                      <a:pt x="4463" y="3264"/>
                      <a:pt x="4443" y="3243"/>
                      <a:pt x="4443" y="3218"/>
                    </a:cubicBezTo>
                    <a:lnTo>
                      <a:pt x="4443" y="2765"/>
                    </a:lnTo>
                    <a:cubicBezTo>
                      <a:pt x="4443" y="2740"/>
                      <a:pt x="4463" y="2720"/>
                      <a:pt x="4488" y="2720"/>
                    </a:cubicBezTo>
                    <a:lnTo>
                      <a:pt x="4941" y="2720"/>
                    </a:lnTo>
                    <a:cubicBezTo>
                      <a:pt x="4966" y="2720"/>
                      <a:pt x="4987" y="2740"/>
                      <a:pt x="4987" y="2765"/>
                    </a:cubicBezTo>
                    <a:lnTo>
                      <a:pt x="4987" y="3218"/>
                    </a:lnTo>
                    <a:close/>
                    <a:moveTo>
                      <a:pt x="5803" y="4216"/>
                    </a:moveTo>
                    <a:cubicBezTo>
                      <a:pt x="5803" y="4241"/>
                      <a:pt x="5782" y="4261"/>
                      <a:pt x="5757" y="4261"/>
                    </a:cubicBezTo>
                    <a:lnTo>
                      <a:pt x="5304" y="4261"/>
                    </a:lnTo>
                    <a:cubicBezTo>
                      <a:pt x="5279" y="4261"/>
                      <a:pt x="5259" y="4241"/>
                      <a:pt x="5259" y="4216"/>
                    </a:cubicBezTo>
                    <a:lnTo>
                      <a:pt x="5259" y="3762"/>
                    </a:lnTo>
                    <a:cubicBezTo>
                      <a:pt x="5259" y="3737"/>
                      <a:pt x="5279" y="3717"/>
                      <a:pt x="5304" y="3717"/>
                    </a:cubicBezTo>
                    <a:lnTo>
                      <a:pt x="5757" y="3717"/>
                    </a:lnTo>
                    <a:cubicBezTo>
                      <a:pt x="5782" y="3717"/>
                      <a:pt x="5803" y="3737"/>
                      <a:pt x="5803" y="3762"/>
                    </a:cubicBezTo>
                    <a:lnTo>
                      <a:pt x="5803" y="4216"/>
                    </a:lnTo>
                    <a:close/>
                    <a:moveTo>
                      <a:pt x="5803" y="3218"/>
                    </a:moveTo>
                    <a:cubicBezTo>
                      <a:pt x="5803" y="3243"/>
                      <a:pt x="5782" y="3264"/>
                      <a:pt x="5757" y="3264"/>
                    </a:cubicBezTo>
                    <a:lnTo>
                      <a:pt x="5304" y="3264"/>
                    </a:lnTo>
                    <a:cubicBezTo>
                      <a:pt x="5279" y="3264"/>
                      <a:pt x="5259" y="3243"/>
                      <a:pt x="5259" y="3218"/>
                    </a:cubicBezTo>
                    <a:lnTo>
                      <a:pt x="5259" y="2765"/>
                    </a:lnTo>
                    <a:cubicBezTo>
                      <a:pt x="5259" y="2740"/>
                      <a:pt x="5279" y="2720"/>
                      <a:pt x="5304" y="2720"/>
                    </a:cubicBezTo>
                    <a:lnTo>
                      <a:pt x="5757" y="2720"/>
                    </a:lnTo>
                    <a:cubicBezTo>
                      <a:pt x="5782" y="2720"/>
                      <a:pt x="5803" y="2740"/>
                      <a:pt x="5803" y="2765"/>
                    </a:cubicBezTo>
                    <a:lnTo>
                      <a:pt x="5803" y="321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  <p:grpSp>
            <p:nvGrpSpPr>
              <p:cNvPr id="23" name="iṡḷîďé"/>
              <p:cNvGrpSpPr/>
              <p:nvPr/>
            </p:nvGrpSpPr>
            <p:grpSpPr>
              <a:xfrm>
                <a:off x="8084242" y="1560626"/>
                <a:ext cx="3421582" cy="1308761"/>
                <a:chOff x="8211000" y="1130300"/>
                <a:chExt cx="3307900" cy="1308761"/>
              </a:xfrm>
            </p:grpSpPr>
            <p:sp>
              <p:nvSpPr>
                <p:cNvPr id="25" name="ï$ḻiḍè"/>
                <p:cNvSpPr txBox="1"/>
                <p:nvPr/>
              </p:nvSpPr>
              <p:spPr bwMode="auto">
                <a:xfrm>
                  <a:off x="8211000" y="1130300"/>
                  <a:ext cx="3307900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r">
                    <a:spcBef>
                      <a:spcPct val="0"/>
                    </a:spcBef>
                    <a:defRPr/>
                  </a:pPr>
                  <a:r>
                    <a:rPr lang="zh-CN" altLang="en-US" sz="2000" b="1" dirty="0">
                      <a:solidFill>
                        <a:srgbClr val="000000"/>
                      </a:solidFill>
                      <a:ea typeface="阿里巴巴普惠体" panose="00020600040101010101" pitchFamily="18" charset="-122"/>
                    </a:rPr>
                    <a:t>添加标题内容</a:t>
                  </a:r>
                  <a:endParaRPr lang="en-US" altLang="zh-CN" sz="2000" b="1" dirty="0">
                    <a:solidFill>
                      <a:srgbClr val="000000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26" name="ïṥḻíďe"/>
                <p:cNvSpPr/>
                <p:nvPr/>
              </p:nvSpPr>
              <p:spPr bwMode="auto">
                <a:xfrm>
                  <a:off x="8211000" y="1572106"/>
                  <a:ext cx="3307900" cy="8669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defRPr/>
                  </a:pPr>
                  <a:r>
                    <a:rPr lang="zh-CN" altLang="en-US" sz="1100" dirty="0"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  <a:p>
                  <a:pPr marR="0" lvl="0" algn="r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defRPr/>
                  </a:pPr>
                  <a:endParaRPr kumimoji="0" lang="en-US" altLang="zh-C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阿里巴巴普惠体" panose="00020600040101010101" pitchFamily="18" charset="-122"/>
                  </a:endParaRPr>
                </a:p>
              </p:txBody>
            </p:sp>
          </p:grpSp>
          <p:cxnSp>
            <p:nvCxnSpPr>
              <p:cNvPr id="24" name="直接连接符 23"/>
              <p:cNvCxnSpPr/>
              <p:nvPr/>
            </p:nvCxnSpPr>
            <p:spPr>
              <a:xfrm>
                <a:off x="7838300" y="2002431"/>
                <a:ext cx="3680600" cy="0"/>
              </a:xfrm>
              <a:prstGeom prst="line">
                <a:avLst/>
              </a:prstGeom>
              <a:ln w="3175" cap="rnd">
                <a:solidFill>
                  <a:schemeClr val="tx2">
                    <a:lumMod val="90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işḻîḑê"/>
            <p:cNvGrpSpPr/>
            <p:nvPr/>
          </p:nvGrpSpPr>
          <p:grpSpPr>
            <a:xfrm>
              <a:off x="7838300" y="4745627"/>
              <a:ext cx="3680600" cy="1308761"/>
              <a:chOff x="7838300" y="1560626"/>
              <a:chExt cx="3680600" cy="1308761"/>
            </a:xfrm>
          </p:grpSpPr>
          <p:sp>
            <p:nvSpPr>
              <p:cNvPr id="17" name="i$ḻiḑé"/>
              <p:cNvSpPr/>
              <p:nvPr/>
            </p:nvSpPr>
            <p:spPr bwMode="auto">
              <a:xfrm>
                <a:off x="7857583" y="1638677"/>
                <a:ext cx="354658" cy="312462"/>
              </a:xfrm>
              <a:custGeom>
                <a:avLst/>
                <a:gdLst>
                  <a:gd name="T0" fmla="*/ 0 w 6165"/>
                  <a:gd name="T1" fmla="*/ 90 h 5440"/>
                  <a:gd name="T2" fmla="*/ 363 w 6165"/>
                  <a:gd name="T3" fmla="*/ 4624 h 5440"/>
                  <a:gd name="T4" fmla="*/ 907 w 6165"/>
                  <a:gd name="T5" fmla="*/ 4624 h 5440"/>
                  <a:gd name="T6" fmla="*/ 2901 w 6165"/>
                  <a:gd name="T7" fmla="*/ 90 h 5440"/>
                  <a:gd name="T8" fmla="*/ 861 w 6165"/>
                  <a:gd name="T9" fmla="*/ 4080 h 5440"/>
                  <a:gd name="T10" fmla="*/ 363 w 6165"/>
                  <a:gd name="T11" fmla="*/ 3581 h 5440"/>
                  <a:gd name="T12" fmla="*/ 907 w 6165"/>
                  <a:gd name="T13" fmla="*/ 3581 h 5440"/>
                  <a:gd name="T14" fmla="*/ 861 w 6165"/>
                  <a:gd name="T15" fmla="*/ 3082 h 5440"/>
                  <a:gd name="T16" fmla="*/ 363 w 6165"/>
                  <a:gd name="T17" fmla="*/ 2584 h 5440"/>
                  <a:gd name="T18" fmla="*/ 907 w 6165"/>
                  <a:gd name="T19" fmla="*/ 2584 h 5440"/>
                  <a:gd name="T20" fmla="*/ 861 w 6165"/>
                  <a:gd name="T21" fmla="*/ 2085 h 5440"/>
                  <a:gd name="T22" fmla="*/ 363 w 6165"/>
                  <a:gd name="T23" fmla="*/ 1586 h 5440"/>
                  <a:gd name="T24" fmla="*/ 907 w 6165"/>
                  <a:gd name="T25" fmla="*/ 1586 h 5440"/>
                  <a:gd name="T26" fmla="*/ 861 w 6165"/>
                  <a:gd name="T27" fmla="*/ 1088 h 5440"/>
                  <a:gd name="T28" fmla="*/ 363 w 6165"/>
                  <a:gd name="T29" fmla="*/ 589 h 5440"/>
                  <a:gd name="T30" fmla="*/ 907 w 6165"/>
                  <a:gd name="T31" fmla="*/ 589 h 5440"/>
                  <a:gd name="T32" fmla="*/ 1677 w 6165"/>
                  <a:gd name="T33" fmla="*/ 4080 h 5440"/>
                  <a:gd name="T34" fmla="*/ 1179 w 6165"/>
                  <a:gd name="T35" fmla="*/ 3581 h 5440"/>
                  <a:gd name="T36" fmla="*/ 1723 w 6165"/>
                  <a:gd name="T37" fmla="*/ 3581 h 5440"/>
                  <a:gd name="T38" fmla="*/ 1677 w 6165"/>
                  <a:gd name="T39" fmla="*/ 3082 h 5440"/>
                  <a:gd name="T40" fmla="*/ 1179 w 6165"/>
                  <a:gd name="T41" fmla="*/ 2584 h 5440"/>
                  <a:gd name="T42" fmla="*/ 1723 w 6165"/>
                  <a:gd name="T43" fmla="*/ 2584 h 5440"/>
                  <a:gd name="T44" fmla="*/ 1677 w 6165"/>
                  <a:gd name="T45" fmla="*/ 2085 h 5440"/>
                  <a:gd name="T46" fmla="*/ 1179 w 6165"/>
                  <a:gd name="T47" fmla="*/ 1586 h 5440"/>
                  <a:gd name="T48" fmla="*/ 1723 w 6165"/>
                  <a:gd name="T49" fmla="*/ 1586 h 5440"/>
                  <a:gd name="T50" fmla="*/ 1677 w 6165"/>
                  <a:gd name="T51" fmla="*/ 1088 h 5440"/>
                  <a:gd name="T52" fmla="*/ 1179 w 6165"/>
                  <a:gd name="T53" fmla="*/ 589 h 5440"/>
                  <a:gd name="T54" fmla="*/ 1723 w 6165"/>
                  <a:gd name="T55" fmla="*/ 589 h 5440"/>
                  <a:gd name="T56" fmla="*/ 2493 w 6165"/>
                  <a:gd name="T57" fmla="*/ 4080 h 5440"/>
                  <a:gd name="T58" fmla="*/ 1995 w 6165"/>
                  <a:gd name="T59" fmla="*/ 3581 h 5440"/>
                  <a:gd name="T60" fmla="*/ 2539 w 6165"/>
                  <a:gd name="T61" fmla="*/ 3581 h 5440"/>
                  <a:gd name="T62" fmla="*/ 2493 w 6165"/>
                  <a:gd name="T63" fmla="*/ 3082 h 5440"/>
                  <a:gd name="T64" fmla="*/ 1995 w 6165"/>
                  <a:gd name="T65" fmla="*/ 2584 h 5440"/>
                  <a:gd name="T66" fmla="*/ 2539 w 6165"/>
                  <a:gd name="T67" fmla="*/ 2584 h 5440"/>
                  <a:gd name="T68" fmla="*/ 2493 w 6165"/>
                  <a:gd name="T69" fmla="*/ 2085 h 5440"/>
                  <a:gd name="T70" fmla="*/ 1995 w 6165"/>
                  <a:gd name="T71" fmla="*/ 1586 h 5440"/>
                  <a:gd name="T72" fmla="*/ 2539 w 6165"/>
                  <a:gd name="T73" fmla="*/ 1586 h 5440"/>
                  <a:gd name="T74" fmla="*/ 2493 w 6165"/>
                  <a:gd name="T75" fmla="*/ 1088 h 5440"/>
                  <a:gd name="T76" fmla="*/ 1995 w 6165"/>
                  <a:gd name="T77" fmla="*/ 589 h 5440"/>
                  <a:gd name="T78" fmla="*/ 2539 w 6165"/>
                  <a:gd name="T79" fmla="*/ 589 h 5440"/>
                  <a:gd name="T80" fmla="*/ 3379 w 6165"/>
                  <a:gd name="T81" fmla="*/ 1845 h 5440"/>
                  <a:gd name="T82" fmla="*/ 3627 w 6165"/>
                  <a:gd name="T83" fmla="*/ 5440 h 5440"/>
                  <a:gd name="T84" fmla="*/ 4080 w 6165"/>
                  <a:gd name="T85" fmla="*/ 4624 h 5440"/>
                  <a:gd name="T86" fmla="*/ 6165 w 6165"/>
                  <a:gd name="T87" fmla="*/ 5440 h 5440"/>
                  <a:gd name="T88" fmla="*/ 4171 w 6165"/>
                  <a:gd name="T89" fmla="*/ 4216 h 5440"/>
                  <a:gd name="T90" fmla="*/ 3627 w 6165"/>
                  <a:gd name="T91" fmla="*/ 4216 h 5440"/>
                  <a:gd name="T92" fmla="*/ 4125 w 6165"/>
                  <a:gd name="T93" fmla="*/ 3717 h 5440"/>
                  <a:gd name="T94" fmla="*/ 4171 w 6165"/>
                  <a:gd name="T95" fmla="*/ 3218 h 5440"/>
                  <a:gd name="T96" fmla="*/ 3627 w 6165"/>
                  <a:gd name="T97" fmla="*/ 3218 h 5440"/>
                  <a:gd name="T98" fmla="*/ 4125 w 6165"/>
                  <a:gd name="T99" fmla="*/ 2720 h 5440"/>
                  <a:gd name="T100" fmla="*/ 4987 w 6165"/>
                  <a:gd name="T101" fmla="*/ 4216 h 5440"/>
                  <a:gd name="T102" fmla="*/ 4443 w 6165"/>
                  <a:gd name="T103" fmla="*/ 4216 h 5440"/>
                  <a:gd name="T104" fmla="*/ 4941 w 6165"/>
                  <a:gd name="T105" fmla="*/ 3717 h 5440"/>
                  <a:gd name="T106" fmla="*/ 4987 w 6165"/>
                  <a:gd name="T107" fmla="*/ 3218 h 5440"/>
                  <a:gd name="T108" fmla="*/ 4443 w 6165"/>
                  <a:gd name="T109" fmla="*/ 3218 h 5440"/>
                  <a:gd name="T110" fmla="*/ 4941 w 6165"/>
                  <a:gd name="T111" fmla="*/ 2720 h 5440"/>
                  <a:gd name="T112" fmla="*/ 5803 w 6165"/>
                  <a:gd name="T113" fmla="*/ 4216 h 5440"/>
                  <a:gd name="T114" fmla="*/ 5259 w 6165"/>
                  <a:gd name="T115" fmla="*/ 4216 h 5440"/>
                  <a:gd name="T116" fmla="*/ 5757 w 6165"/>
                  <a:gd name="T117" fmla="*/ 3717 h 5440"/>
                  <a:gd name="T118" fmla="*/ 5803 w 6165"/>
                  <a:gd name="T119" fmla="*/ 3218 h 5440"/>
                  <a:gd name="T120" fmla="*/ 5259 w 6165"/>
                  <a:gd name="T121" fmla="*/ 3218 h 5440"/>
                  <a:gd name="T122" fmla="*/ 5757 w 6165"/>
                  <a:gd name="T123" fmla="*/ 2720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65" h="5440">
                    <a:moveTo>
                      <a:pt x="2811" y="0"/>
                    </a:moveTo>
                    <a:lnTo>
                      <a:pt x="91" y="0"/>
                    </a:lnTo>
                    <a:cubicBezTo>
                      <a:pt x="41" y="0"/>
                      <a:pt x="0" y="40"/>
                      <a:pt x="0" y="90"/>
                    </a:cubicBezTo>
                    <a:lnTo>
                      <a:pt x="0" y="5440"/>
                    </a:lnTo>
                    <a:lnTo>
                      <a:pt x="363" y="5440"/>
                    </a:lnTo>
                    <a:lnTo>
                      <a:pt x="363" y="4624"/>
                    </a:lnTo>
                    <a:cubicBezTo>
                      <a:pt x="363" y="4574"/>
                      <a:pt x="403" y="4533"/>
                      <a:pt x="453" y="4533"/>
                    </a:cubicBezTo>
                    <a:lnTo>
                      <a:pt x="816" y="4533"/>
                    </a:lnTo>
                    <a:cubicBezTo>
                      <a:pt x="866" y="4533"/>
                      <a:pt x="907" y="4574"/>
                      <a:pt x="907" y="4624"/>
                    </a:cubicBezTo>
                    <a:lnTo>
                      <a:pt x="907" y="5440"/>
                    </a:lnTo>
                    <a:lnTo>
                      <a:pt x="2901" y="5440"/>
                    </a:lnTo>
                    <a:lnTo>
                      <a:pt x="2901" y="90"/>
                    </a:lnTo>
                    <a:cubicBezTo>
                      <a:pt x="2901" y="40"/>
                      <a:pt x="2861" y="0"/>
                      <a:pt x="2811" y="0"/>
                    </a:cubicBezTo>
                    <a:close/>
                    <a:moveTo>
                      <a:pt x="907" y="4034"/>
                    </a:moveTo>
                    <a:cubicBezTo>
                      <a:pt x="907" y="4059"/>
                      <a:pt x="886" y="4080"/>
                      <a:pt x="861" y="4080"/>
                    </a:cubicBezTo>
                    <a:lnTo>
                      <a:pt x="408" y="4080"/>
                    </a:lnTo>
                    <a:cubicBezTo>
                      <a:pt x="383" y="4080"/>
                      <a:pt x="363" y="4059"/>
                      <a:pt x="363" y="4034"/>
                    </a:cubicBezTo>
                    <a:lnTo>
                      <a:pt x="363" y="3581"/>
                    </a:lnTo>
                    <a:cubicBezTo>
                      <a:pt x="363" y="3556"/>
                      <a:pt x="383" y="3536"/>
                      <a:pt x="408" y="3536"/>
                    </a:cubicBezTo>
                    <a:lnTo>
                      <a:pt x="861" y="3536"/>
                    </a:lnTo>
                    <a:cubicBezTo>
                      <a:pt x="886" y="3536"/>
                      <a:pt x="907" y="3556"/>
                      <a:pt x="907" y="3581"/>
                    </a:cubicBezTo>
                    <a:lnTo>
                      <a:pt x="907" y="4034"/>
                    </a:lnTo>
                    <a:close/>
                    <a:moveTo>
                      <a:pt x="907" y="3037"/>
                    </a:moveTo>
                    <a:cubicBezTo>
                      <a:pt x="907" y="3062"/>
                      <a:pt x="886" y="3082"/>
                      <a:pt x="861" y="3082"/>
                    </a:cubicBezTo>
                    <a:lnTo>
                      <a:pt x="408" y="3082"/>
                    </a:lnTo>
                    <a:cubicBezTo>
                      <a:pt x="383" y="3082"/>
                      <a:pt x="363" y="3062"/>
                      <a:pt x="363" y="3037"/>
                    </a:cubicBezTo>
                    <a:lnTo>
                      <a:pt x="363" y="2584"/>
                    </a:lnTo>
                    <a:cubicBezTo>
                      <a:pt x="363" y="2559"/>
                      <a:pt x="383" y="2538"/>
                      <a:pt x="408" y="2538"/>
                    </a:cubicBezTo>
                    <a:lnTo>
                      <a:pt x="861" y="2538"/>
                    </a:lnTo>
                    <a:cubicBezTo>
                      <a:pt x="886" y="2538"/>
                      <a:pt x="907" y="2559"/>
                      <a:pt x="907" y="2584"/>
                    </a:cubicBezTo>
                    <a:lnTo>
                      <a:pt x="907" y="3037"/>
                    </a:lnTo>
                    <a:close/>
                    <a:moveTo>
                      <a:pt x="907" y="2040"/>
                    </a:moveTo>
                    <a:cubicBezTo>
                      <a:pt x="907" y="2065"/>
                      <a:pt x="886" y="2085"/>
                      <a:pt x="861" y="2085"/>
                    </a:cubicBezTo>
                    <a:lnTo>
                      <a:pt x="408" y="2085"/>
                    </a:lnTo>
                    <a:cubicBezTo>
                      <a:pt x="383" y="2085"/>
                      <a:pt x="363" y="2065"/>
                      <a:pt x="363" y="2040"/>
                    </a:cubicBezTo>
                    <a:lnTo>
                      <a:pt x="363" y="1586"/>
                    </a:lnTo>
                    <a:cubicBezTo>
                      <a:pt x="363" y="1561"/>
                      <a:pt x="383" y="1541"/>
                      <a:pt x="408" y="1541"/>
                    </a:cubicBezTo>
                    <a:lnTo>
                      <a:pt x="861" y="1541"/>
                    </a:lnTo>
                    <a:cubicBezTo>
                      <a:pt x="886" y="1541"/>
                      <a:pt x="907" y="1561"/>
                      <a:pt x="907" y="1586"/>
                    </a:cubicBezTo>
                    <a:lnTo>
                      <a:pt x="907" y="2040"/>
                    </a:lnTo>
                    <a:close/>
                    <a:moveTo>
                      <a:pt x="907" y="1042"/>
                    </a:moveTo>
                    <a:cubicBezTo>
                      <a:pt x="907" y="1067"/>
                      <a:pt x="886" y="1088"/>
                      <a:pt x="861" y="1088"/>
                    </a:cubicBezTo>
                    <a:lnTo>
                      <a:pt x="408" y="1088"/>
                    </a:lnTo>
                    <a:cubicBezTo>
                      <a:pt x="383" y="1088"/>
                      <a:pt x="363" y="1067"/>
                      <a:pt x="363" y="1042"/>
                    </a:cubicBezTo>
                    <a:lnTo>
                      <a:pt x="363" y="589"/>
                    </a:lnTo>
                    <a:cubicBezTo>
                      <a:pt x="363" y="564"/>
                      <a:pt x="383" y="544"/>
                      <a:pt x="408" y="544"/>
                    </a:cubicBezTo>
                    <a:lnTo>
                      <a:pt x="861" y="544"/>
                    </a:lnTo>
                    <a:cubicBezTo>
                      <a:pt x="886" y="544"/>
                      <a:pt x="907" y="564"/>
                      <a:pt x="907" y="589"/>
                    </a:cubicBezTo>
                    <a:lnTo>
                      <a:pt x="907" y="1042"/>
                    </a:lnTo>
                    <a:close/>
                    <a:moveTo>
                      <a:pt x="1723" y="4034"/>
                    </a:moveTo>
                    <a:cubicBezTo>
                      <a:pt x="1723" y="4059"/>
                      <a:pt x="1702" y="4080"/>
                      <a:pt x="1677" y="4080"/>
                    </a:cubicBezTo>
                    <a:lnTo>
                      <a:pt x="1224" y="4080"/>
                    </a:lnTo>
                    <a:cubicBezTo>
                      <a:pt x="1199" y="4080"/>
                      <a:pt x="1179" y="4059"/>
                      <a:pt x="1179" y="4034"/>
                    </a:cubicBezTo>
                    <a:lnTo>
                      <a:pt x="1179" y="3581"/>
                    </a:lnTo>
                    <a:cubicBezTo>
                      <a:pt x="1179" y="3556"/>
                      <a:pt x="1199" y="3536"/>
                      <a:pt x="1224" y="3536"/>
                    </a:cubicBezTo>
                    <a:lnTo>
                      <a:pt x="1677" y="3536"/>
                    </a:lnTo>
                    <a:cubicBezTo>
                      <a:pt x="1702" y="3536"/>
                      <a:pt x="1723" y="3556"/>
                      <a:pt x="1723" y="3581"/>
                    </a:cubicBezTo>
                    <a:lnTo>
                      <a:pt x="1723" y="4034"/>
                    </a:lnTo>
                    <a:close/>
                    <a:moveTo>
                      <a:pt x="1723" y="3037"/>
                    </a:moveTo>
                    <a:cubicBezTo>
                      <a:pt x="1723" y="3062"/>
                      <a:pt x="1702" y="3082"/>
                      <a:pt x="1677" y="3082"/>
                    </a:cubicBezTo>
                    <a:lnTo>
                      <a:pt x="1224" y="3082"/>
                    </a:lnTo>
                    <a:cubicBezTo>
                      <a:pt x="1199" y="3082"/>
                      <a:pt x="1179" y="3062"/>
                      <a:pt x="1179" y="3037"/>
                    </a:cubicBezTo>
                    <a:lnTo>
                      <a:pt x="1179" y="2584"/>
                    </a:lnTo>
                    <a:cubicBezTo>
                      <a:pt x="1179" y="2559"/>
                      <a:pt x="1199" y="2538"/>
                      <a:pt x="1224" y="2538"/>
                    </a:cubicBezTo>
                    <a:lnTo>
                      <a:pt x="1677" y="2538"/>
                    </a:lnTo>
                    <a:cubicBezTo>
                      <a:pt x="1702" y="2538"/>
                      <a:pt x="1723" y="2559"/>
                      <a:pt x="1723" y="2584"/>
                    </a:cubicBezTo>
                    <a:lnTo>
                      <a:pt x="1723" y="3037"/>
                    </a:lnTo>
                    <a:close/>
                    <a:moveTo>
                      <a:pt x="1723" y="2040"/>
                    </a:moveTo>
                    <a:cubicBezTo>
                      <a:pt x="1723" y="2065"/>
                      <a:pt x="1702" y="2085"/>
                      <a:pt x="1677" y="2085"/>
                    </a:cubicBezTo>
                    <a:lnTo>
                      <a:pt x="1224" y="2085"/>
                    </a:lnTo>
                    <a:cubicBezTo>
                      <a:pt x="1199" y="2085"/>
                      <a:pt x="1179" y="2065"/>
                      <a:pt x="1179" y="2040"/>
                    </a:cubicBezTo>
                    <a:lnTo>
                      <a:pt x="1179" y="1586"/>
                    </a:lnTo>
                    <a:cubicBezTo>
                      <a:pt x="1179" y="1561"/>
                      <a:pt x="1199" y="1541"/>
                      <a:pt x="1224" y="1541"/>
                    </a:cubicBezTo>
                    <a:lnTo>
                      <a:pt x="1677" y="1541"/>
                    </a:lnTo>
                    <a:cubicBezTo>
                      <a:pt x="1702" y="1541"/>
                      <a:pt x="1723" y="1561"/>
                      <a:pt x="1723" y="1586"/>
                    </a:cubicBezTo>
                    <a:lnTo>
                      <a:pt x="1723" y="2040"/>
                    </a:lnTo>
                    <a:close/>
                    <a:moveTo>
                      <a:pt x="1723" y="1042"/>
                    </a:moveTo>
                    <a:cubicBezTo>
                      <a:pt x="1723" y="1067"/>
                      <a:pt x="1702" y="1088"/>
                      <a:pt x="1677" y="1088"/>
                    </a:cubicBezTo>
                    <a:lnTo>
                      <a:pt x="1224" y="1088"/>
                    </a:lnTo>
                    <a:cubicBezTo>
                      <a:pt x="1199" y="1088"/>
                      <a:pt x="1179" y="1067"/>
                      <a:pt x="1179" y="1042"/>
                    </a:cubicBezTo>
                    <a:lnTo>
                      <a:pt x="1179" y="589"/>
                    </a:lnTo>
                    <a:cubicBezTo>
                      <a:pt x="1179" y="564"/>
                      <a:pt x="1199" y="544"/>
                      <a:pt x="1224" y="544"/>
                    </a:cubicBezTo>
                    <a:lnTo>
                      <a:pt x="1677" y="544"/>
                    </a:lnTo>
                    <a:cubicBezTo>
                      <a:pt x="1702" y="544"/>
                      <a:pt x="1723" y="564"/>
                      <a:pt x="1723" y="589"/>
                    </a:cubicBezTo>
                    <a:lnTo>
                      <a:pt x="1723" y="1042"/>
                    </a:lnTo>
                    <a:close/>
                    <a:moveTo>
                      <a:pt x="2539" y="4034"/>
                    </a:moveTo>
                    <a:cubicBezTo>
                      <a:pt x="2539" y="4059"/>
                      <a:pt x="2518" y="4080"/>
                      <a:pt x="2493" y="4080"/>
                    </a:cubicBezTo>
                    <a:lnTo>
                      <a:pt x="2040" y="4080"/>
                    </a:lnTo>
                    <a:cubicBezTo>
                      <a:pt x="2015" y="4080"/>
                      <a:pt x="1995" y="4059"/>
                      <a:pt x="1995" y="4034"/>
                    </a:cubicBezTo>
                    <a:lnTo>
                      <a:pt x="1995" y="3581"/>
                    </a:lnTo>
                    <a:cubicBezTo>
                      <a:pt x="1995" y="3556"/>
                      <a:pt x="2015" y="3536"/>
                      <a:pt x="2040" y="3536"/>
                    </a:cubicBezTo>
                    <a:lnTo>
                      <a:pt x="2493" y="3536"/>
                    </a:lnTo>
                    <a:cubicBezTo>
                      <a:pt x="2518" y="3536"/>
                      <a:pt x="2539" y="3556"/>
                      <a:pt x="2539" y="3581"/>
                    </a:cubicBezTo>
                    <a:lnTo>
                      <a:pt x="2539" y="4034"/>
                    </a:lnTo>
                    <a:close/>
                    <a:moveTo>
                      <a:pt x="2539" y="3037"/>
                    </a:moveTo>
                    <a:cubicBezTo>
                      <a:pt x="2539" y="3062"/>
                      <a:pt x="2518" y="3082"/>
                      <a:pt x="2493" y="3082"/>
                    </a:cubicBezTo>
                    <a:lnTo>
                      <a:pt x="2040" y="3082"/>
                    </a:lnTo>
                    <a:cubicBezTo>
                      <a:pt x="2015" y="3082"/>
                      <a:pt x="1995" y="3062"/>
                      <a:pt x="1995" y="3037"/>
                    </a:cubicBezTo>
                    <a:lnTo>
                      <a:pt x="1995" y="2584"/>
                    </a:lnTo>
                    <a:cubicBezTo>
                      <a:pt x="1995" y="2559"/>
                      <a:pt x="2015" y="2538"/>
                      <a:pt x="2040" y="2538"/>
                    </a:cubicBezTo>
                    <a:lnTo>
                      <a:pt x="2493" y="2538"/>
                    </a:lnTo>
                    <a:cubicBezTo>
                      <a:pt x="2518" y="2538"/>
                      <a:pt x="2539" y="2559"/>
                      <a:pt x="2539" y="2584"/>
                    </a:cubicBezTo>
                    <a:lnTo>
                      <a:pt x="2539" y="3037"/>
                    </a:lnTo>
                    <a:close/>
                    <a:moveTo>
                      <a:pt x="2539" y="2040"/>
                    </a:moveTo>
                    <a:cubicBezTo>
                      <a:pt x="2539" y="2065"/>
                      <a:pt x="2518" y="2085"/>
                      <a:pt x="2493" y="2085"/>
                    </a:cubicBezTo>
                    <a:lnTo>
                      <a:pt x="2040" y="2085"/>
                    </a:lnTo>
                    <a:cubicBezTo>
                      <a:pt x="2015" y="2085"/>
                      <a:pt x="1995" y="2065"/>
                      <a:pt x="1995" y="2040"/>
                    </a:cubicBezTo>
                    <a:lnTo>
                      <a:pt x="1995" y="1586"/>
                    </a:lnTo>
                    <a:cubicBezTo>
                      <a:pt x="1995" y="1561"/>
                      <a:pt x="2015" y="1541"/>
                      <a:pt x="2040" y="1541"/>
                    </a:cubicBezTo>
                    <a:lnTo>
                      <a:pt x="2493" y="1541"/>
                    </a:lnTo>
                    <a:cubicBezTo>
                      <a:pt x="2518" y="1541"/>
                      <a:pt x="2539" y="1561"/>
                      <a:pt x="2539" y="1586"/>
                    </a:cubicBezTo>
                    <a:lnTo>
                      <a:pt x="2539" y="2040"/>
                    </a:lnTo>
                    <a:close/>
                    <a:moveTo>
                      <a:pt x="2539" y="1042"/>
                    </a:moveTo>
                    <a:cubicBezTo>
                      <a:pt x="2539" y="1067"/>
                      <a:pt x="2518" y="1088"/>
                      <a:pt x="2493" y="1088"/>
                    </a:cubicBezTo>
                    <a:lnTo>
                      <a:pt x="2040" y="1088"/>
                    </a:lnTo>
                    <a:cubicBezTo>
                      <a:pt x="2015" y="1088"/>
                      <a:pt x="1995" y="1067"/>
                      <a:pt x="1995" y="1042"/>
                    </a:cubicBezTo>
                    <a:lnTo>
                      <a:pt x="1995" y="589"/>
                    </a:lnTo>
                    <a:cubicBezTo>
                      <a:pt x="1995" y="564"/>
                      <a:pt x="2015" y="544"/>
                      <a:pt x="2040" y="544"/>
                    </a:cubicBezTo>
                    <a:lnTo>
                      <a:pt x="2493" y="544"/>
                    </a:lnTo>
                    <a:cubicBezTo>
                      <a:pt x="2518" y="544"/>
                      <a:pt x="2539" y="564"/>
                      <a:pt x="2539" y="589"/>
                    </a:cubicBezTo>
                    <a:lnTo>
                      <a:pt x="2539" y="1042"/>
                    </a:lnTo>
                    <a:close/>
                    <a:moveTo>
                      <a:pt x="6099" y="2610"/>
                    </a:moveTo>
                    <a:lnTo>
                      <a:pt x="3379" y="1845"/>
                    </a:lnTo>
                    <a:cubicBezTo>
                      <a:pt x="3321" y="1829"/>
                      <a:pt x="3264" y="1873"/>
                      <a:pt x="3264" y="1933"/>
                    </a:cubicBezTo>
                    <a:lnTo>
                      <a:pt x="3264" y="5440"/>
                    </a:lnTo>
                    <a:lnTo>
                      <a:pt x="3627" y="5440"/>
                    </a:lnTo>
                    <a:lnTo>
                      <a:pt x="3627" y="4714"/>
                    </a:lnTo>
                    <a:cubicBezTo>
                      <a:pt x="3627" y="4664"/>
                      <a:pt x="3667" y="4624"/>
                      <a:pt x="3717" y="4624"/>
                    </a:cubicBezTo>
                    <a:lnTo>
                      <a:pt x="4080" y="4624"/>
                    </a:lnTo>
                    <a:cubicBezTo>
                      <a:pt x="4130" y="4624"/>
                      <a:pt x="4171" y="4664"/>
                      <a:pt x="4171" y="4714"/>
                    </a:cubicBezTo>
                    <a:lnTo>
                      <a:pt x="4171" y="5440"/>
                    </a:lnTo>
                    <a:lnTo>
                      <a:pt x="6165" y="5440"/>
                    </a:lnTo>
                    <a:lnTo>
                      <a:pt x="6165" y="2698"/>
                    </a:lnTo>
                    <a:cubicBezTo>
                      <a:pt x="6165" y="2657"/>
                      <a:pt x="6138" y="2621"/>
                      <a:pt x="6099" y="2610"/>
                    </a:cubicBezTo>
                    <a:close/>
                    <a:moveTo>
                      <a:pt x="4171" y="4216"/>
                    </a:moveTo>
                    <a:cubicBezTo>
                      <a:pt x="4171" y="4241"/>
                      <a:pt x="4150" y="4261"/>
                      <a:pt x="4125" y="4261"/>
                    </a:cubicBezTo>
                    <a:lnTo>
                      <a:pt x="3672" y="4261"/>
                    </a:lnTo>
                    <a:cubicBezTo>
                      <a:pt x="3647" y="4261"/>
                      <a:pt x="3627" y="4241"/>
                      <a:pt x="3627" y="4216"/>
                    </a:cubicBezTo>
                    <a:lnTo>
                      <a:pt x="3627" y="3762"/>
                    </a:lnTo>
                    <a:cubicBezTo>
                      <a:pt x="3627" y="3737"/>
                      <a:pt x="3647" y="3717"/>
                      <a:pt x="3672" y="3717"/>
                    </a:cubicBezTo>
                    <a:lnTo>
                      <a:pt x="4125" y="3717"/>
                    </a:lnTo>
                    <a:cubicBezTo>
                      <a:pt x="4150" y="3717"/>
                      <a:pt x="4171" y="3737"/>
                      <a:pt x="4171" y="3762"/>
                    </a:cubicBezTo>
                    <a:lnTo>
                      <a:pt x="4171" y="4216"/>
                    </a:lnTo>
                    <a:close/>
                    <a:moveTo>
                      <a:pt x="4171" y="3218"/>
                    </a:moveTo>
                    <a:cubicBezTo>
                      <a:pt x="4171" y="3243"/>
                      <a:pt x="4150" y="3264"/>
                      <a:pt x="4125" y="3264"/>
                    </a:cubicBezTo>
                    <a:lnTo>
                      <a:pt x="3672" y="3264"/>
                    </a:lnTo>
                    <a:cubicBezTo>
                      <a:pt x="3647" y="3264"/>
                      <a:pt x="3627" y="3243"/>
                      <a:pt x="3627" y="3218"/>
                    </a:cubicBezTo>
                    <a:lnTo>
                      <a:pt x="3627" y="2765"/>
                    </a:lnTo>
                    <a:cubicBezTo>
                      <a:pt x="3627" y="2740"/>
                      <a:pt x="3647" y="2720"/>
                      <a:pt x="3672" y="2720"/>
                    </a:cubicBezTo>
                    <a:lnTo>
                      <a:pt x="4125" y="2720"/>
                    </a:lnTo>
                    <a:cubicBezTo>
                      <a:pt x="4150" y="2720"/>
                      <a:pt x="4171" y="2740"/>
                      <a:pt x="4171" y="2765"/>
                    </a:cubicBezTo>
                    <a:lnTo>
                      <a:pt x="4171" y="3218"/>
                    </a:lnTo>
                    <a:close/>
                    <a:moveTo>
                      <a:pt x="4987" y="4216"/>
                    </a:moveTo>
                    <a:cubicBezTo>
                      <a:pt x="4987" y="4241"/>
                      <a:pt x="4966" y="4261"/>
                      <a:pt x="4941" y="4261"/>
                    </a:cubicBezTo>
                    <a:lnTo>
                      <a:pt x="4488" y="4261"/>
                    </a:lnTo>
                    <a:cubicBezTo>
                      <a:pt x="4463" y="4261"/>
                      <a:pt x="4443" y="4241"/>
                      <a:pt x="4443" y="4216"/>
                    </a:cubicBezTo>
                    <a:lnTo>
                      <a:pt x="4443" y="3762"/>
                    </a:lnTo>
                    <a:cubicBezTo>
                      <a:pt x="4443" y="3737"/>
                      <a:pt x="4463" y="3717"/>
                      <a:pt x="4488" y="3717"/>
                    </a:cubicBezTo>
                    <a:lnTo>
                      <a:pt x="4941" y="3717"/>
                    </a:lnTo>
                    <a:cubicBezTo>
                      <a:pt x="4966" y="3717"/>
                      <a:pt x="4987" y="3737"/>
                      <a:pt x="4987" y="3762"/>
                    </a:cubicBezTo>
                    <a:lnTo>
                      <a:pt x="4987" y="4216"/>
                    </a:lnTo>
                    <a:close/>
                    <a:moveTo>
                      <a:pt x="4987" y="3218"/>
                    </a:moveTo>
                    <a:cubicBezTo>
                      <a:pt x="4987" y="3243"/>
                      <a:pt x="4966" y="3264"/>
                      <a:pt x="4941" y="3264"/>
                    </a:cubicBezTo>
                    <a:lnTo>
                      <a:pt x="4488" y="3264"/>
                    </a:lnTo>
                    <a:cubicBezTo>
                      <a:pt x="4463" y="3264"/>
                      <a:pt x="4443" y="3243"/>
                      <a:pt x="4443" y="3218"/>
                    </a:cubicBezTo>
                    <a:lnTo>
                      <a:pt x="4443" y="2765"/>
                    </a:lnTo>
                    <a:cubicBezTo>
                      <a:pt x="4443" y="2740"/>
                      <a:pt x="4463" y="2720"/>
                      <a:pt x="4488" y="2720"/>
                    </a:cubicBezTo>
                    <a:lnTo>
                      <a:pt x="4941" y="2720"/>
                    </a:lnTo>
                    <a:cubicBezTo>
                      <a:pt x="4966" y="2720"/>
                      <a:pt x="4987" y="2740"/>
                      <a:pt x="4987" y="2765"/>
                    </a:cubicBezTo>
                    <a:lnTo>
                      <a:pt x="4987" y="3218"/>
                    </a:lnTo>
                    <a:close/>
                    <a:moveTo>
                      <a:pt x="5803" y="4216"/>
                    </a:moveTo>
                    <a:cubicBezTo>
                      <a:pt x="5803" y="4241"/>
                      <a:pt x="5782" y="4261"/>
                      <a:pt x="5757" y="4261"/>
                    </a:cubicBezTo>
                    <a:lnTo>
                      <a:pt x="5304" y="4261"/>
                    </a:lnTo>
                    <a:cubicBezTo>
                      <a:pt x="5279" y="4261"/>
                      <a:pt x="5259" y="4241"/>
                      <a:pt x="5259" y="4216"/>
                    </a:cubicBezTo>
                    <a:lnTo>
                      <a:pt x="5259" y="3762"/>
                    </a:lnTo>
                    <a:cubicBezTo>
                      <a:pt x="5259" y="3737"/>
                      <a:pt x="5279" y="3717"/>
                      <a:pt x="5304" y="3717"/>
                    </a:cubicBezTo>
                    <a:lnTo>
                      <a:pt x="5757" y="3717"/>
                    </a:lnTo>
                    <a:cubicBezTo>
                      <a:pt x="5782" y="3717"/>
                      <a:pt x="5803" y="3737"/>
                      <a:pt x="5803" y="3762"/>
                    </a:cubicBezTo>
                    <a:lnTo>
                      <a:pt x="5803" y="4216"/>
                    </a:lnTo>
                    <a:close/>
                    <a:moveTo>
                      <a:pt x="5803" y="3218"/>
                    </a:moveTo>
                    <a:cubicBezTo>
                      <a:pt x="5803" y="3243"/>
                      <a:pt x="5782" y="3264"/>
                      <a:pt x="5757" y="3264"/>
                    </a:cubicBezTo>
                    <a:lnTo>
                      <a:pt x="5304" y="3264"/>
                    </a:lnTo>
                    <a:cubicBezTo>
                      <a:pt x="5279" y="3264"/>
                      <a:pt x="5259" y="3243"/>
                      <a:pt x="5259" y="3218"/>
                    </a:cubicBezTo>
                    <a:lnTo>
                      <a:pt x="5259" y="2765"/>
                    </a:lnTo>
                    <a:cubicBezTo>
                      <a:pt x="5259" y="2740"/>
                      <a:pt x="5279" y="2720"/>
                      <a:pt x="5304" y="2720"/>
                    </a:cubicBezTo>
                    <a:lnTo>
                      <a:pt x="5757" y="2720"/>
                    </a:lnTo>
                    <a:cubicBezTo>
                      <a:pt x="5782" y="2720"/>
                      <a:pt x="5803" y="2740"/>
                      <a:pt x="5803" y="2765"/>
                    </a:cubicBezTo>
                    <a:lnTo>
                      <a:pt x="5803" y="321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  <p:grpSp>
            <p:nvGrpSpPr>
              <p:cNvPr id="18" name="iṥḷiḑê"/>
              <p:cNvGrpSpPr/>
              <p:nvPr/>
            </p:nvGrpSpPr>
            <p:grpSpPr>
              <a:xfrm>
                <a:off x="8084242" y="1560626"/>
                <a:ext cx="3421582" cy="1308761"/>
                <a:chOff x="8211000" y="1130300"/>
                <a:chExt cx="3307900" cy="1308761"/>
              </a:xfrm>
            </p:grpSpPr>
            <p:sp>
              <p:nvSpPr>
                <p:cNvPr id="20" name="ísḻîḋè"/>
                <p:cNvSpPr txBox="1"/>
                <p:nvPr/>
              </p:nvSpPr>
              <p:spPr bwMode="auto">
                <a:xfrm>
                  <a:off x="8211000" y="1130300"/>
                  <a:ext cx="3307900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 algn="r">
                    <a:spcBef>
                      <a:spcPct val="0"/>
                    </a:spcBef>
                    <a:defRPr/>
                  </a:pPr>
                  <a:r>
                    <a:rPr lang="zh-CN" altLang="en-US" sz="2000" b="1" dirty="0">
                      <a:solidFill>
                        <a:srgbClr val="000000"/>
                      </a:solidFill>
                      <a:ea typeface="阿里巴巴普惠体" panose="00020600040101010101" pitchFamily="18" charset="-122"/>
                    </a:rPr>
                    <a:t>添加标题内容</a:t>
                  </a:r>
                  <a:endParaRPr lang="en-US" altLang="zh-CN" sz="2000" b="1" dirty="0">
                    <a:solidFill>
                      <a:srgbClr val="000000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21" name="îṥḷíḋe"/>
                <p:cNvSpPr/>
                <p:nvPr/>
              </p:nvSpPr>
              <p:spPr bwMode="auto">
                <a:xfrm>
                  <a:off x="8211000" y="1572106"/>
                  <a:ext cx="3307900" cy="8669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defRPr/>
                  </a:pPr>
                  <a:r>
                    <a:rPr lang="zh-CN" altLang="en-US" sz="1100" dirty="0"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  <a:p>
                  <a:pPr marR="0" lvl="0" algn="r" defTabSz="913765" rtl="0" eaLnBrk="1" fontAlgn="auto" latinLnBrk="0" hangingPunct="1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defRPr/>
                  </a:pPr>
                  <a:endParaRPr kumimoji="0" lang="en-US" altLang="zh-C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阿里巴巴普惠体" panose="00020600040101010101" pitchFamily="18" charset="-122"/>
                  </a:endParaRPr>
                </a:p>
              </p:txBody>
            </p:sp>
          </p:grpSp>
          <p:cxnSp>
            <p:nvCxnSpPr>
              <p:cNvPr id="19" name="直接连接符 18"/>
              <p:cNvCxnSpPr/>
              <p:nvPr/>
            </p:nvCxnSpPr>
            <p:spPr>
              <a:xfrm>
                <a:off x="7838300" y="2002431"/>
                <a:ext cx="3680600" cy="0"/>
              </a:xfrm>
              <a:prstGeom prst="line">
                <a:avLst/>
              </a:prstGeom>
              <a:ln w="3175" cap="rnd">
                <a:solidFill>
                  <a:schemeClr val="tx2">
                    <a:lumMod val="90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ïs1iḋe"/>
            <p:cNvSpPr/>
            <p:nvPr/>
          </p:nvSpPr>
          <p:spPr>
            <a:xfrm>
              <a:off x="4631411" y="1854004"/>
              <a:ext cx="988498" cy="9884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dirty="0">
                  <a:latin typeface="Impact" panose="020B0806030902050204" pitchFamily="34" charset="0"/>
                  <a:ea typeface="阿里巴巴普惠体" panose="00020600040101010101" pitchFamily="18" charset="-122"/>
                </a:rPr>
                <a:t>25%</a:t>
              </a:r>
              <a:endParaRPr dirty="0">
                <a:latin typeface="Impact" panose="020B0806030902050204" pitchFamily="34" charset="0"/>
                <a:ea typeface="阿里巴巴普惠体" panose="00020600040101010101" pitchFamily="18" charset="-122"/>
              </a:endParaRPr>
            </a:p>
          </p:txBody>
        </p:sp>
        <p:sp>
          <p:nvSpPr>
            <p:cNvPr id="14" name="îSlidè"/>
            <p:cNvSpPr/>
            <p:nvPr/>
          </p:nvSpPr>
          <p:spPr>
            <a:xfrm>
              <a:off x="6571717" y="1854004"/>
              <a:ext cx="988498" cy="9884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dirty="0">
                  <a:latin typeface="Impact" panose="020B0806030902050204" pitchFamily="34" charset="0"/>
                  <a:ea typeface="阿里巴巴普惠体" panose="00020600040101010101" pitchFamily="18" charset="-122"/>
                </a:rPr>
                <a:t>25%</a:t>
              </a:r>
              <a:endParaRPr dirty="0">
                <a:latin typeface="Impact" panose="020B0806030902050204" pitchFamily="34" charset="0"/>
                <a:ea typeface="阿里巴巴普惠体" panose="00020600040101010101" pitchFamily="18" charset="-122"/>
              </a:endParaRPr>
            </a:p>
          </p:txBody>
        </p:sp>
        <p:sp>
          <p:nvSpPr>
            <p:cNvPr id="15" name="iṩľïḑe"/>
            <p:cNvSpPr/>
            <p:nvPr/>
          </p:nvSpPr>
          <p:spPr>
            <a:xfrm>
              <a:off x="4631411" y="4414353"/>
              <a:ext cx="988498" cy="9884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dirty="0">
                  <a:latin typeface="Impact" panose="020B0806030902050204" pitchFamily="34" charset="0"/>
                  <a:ea typeface="阿里巴巴普惠体" panose="00020600040101010101" pitchFamily="18" charset="-122"/>
                </a:rPr>
                <a:t>25%</a:t>
              </a:r>
              <a:endParaRPr dirty="0">
                <a:latin typeface="Impact" panose="020B0806030902050204" pitchFamily="34" charset="0"/>
                <a:ea typeface="阿里巴巴普惠体" panose="00020600040101010101" pitchFamily="18" charset="-122"/>
              </a:endParaRPr>
            </a:p>
          </p:txBody>
        </p:sp>
        <p:sp>
          <p:nvSpPr>
            <p:cNvPr id="16" name="îṡlide"/>
            <p:cNvSpPr/>
            <p:nvPr/>
          </p:nvSpPr>
          <p:spPr>
            <a:xfrm>
              <a:off x="6571717" y="4414353"/>
              <a:ext cx="988498" cy="98849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dirty="0">
                  <a:latin typeface="Impact" panose="020B0806030902050204" pitchFamily="34" charset="0"/>
                  <a:ea typeface="阿里巴巴普惠体" panose="00020600040101010101" pitchFamily="18" charset="-122"/>
                </a:rPr>
                <a:t>25%</a:t>
              </a:r>
              <a:endParaRPr dirty="0">
                <a:latin typeface="Impact" panose="020B0806030902050204" pitchFamily="34" charset="0"/>
                <a:ea typeface="阿里巴巴普惠体" panose="00020600040101010101" pitchFamily="18" charset="-122"/>
              </a:endParaRPr>
            </a:p>
          </p:txBody>
        </p:sp>
      </p:grpSp>
      <p:sp>
        <p:nvSpPr>
          <p:cNvPr id="43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2561547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2723179" y="-524427"/>
            <a:ext cx="6405581" cy="7786747"/>
            <a:chOff x="1478942" y="1316080"/>
            <a:chExt cx="2512613" cy="2432540"/>
          </a:xfrm>
        </p:grpSpPr>
        <p:sp>
          <p:nvSpPr>
            <p:cNvPr id="24" name="文本框 23"/>
            <p:cNvSpPr txBox="1"/>
            <p:nvPr/>
          </p:nvSpPr>
          <p:spPr>
            <a:xfrm>
              <a:off x="1886115" y="1316080"/>
              <a:ext cx="803059" cy="2432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50000" b="1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+mn-cs"/>
                </a:rPr>
                <a:t>3</a:t>
              </a:r>
              <a:endParaRPr kumimoji="0" lang="zh-CN" altLang="en-US" sz="500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endParaRPr>
            </a:p>
          </p:txBody>
        </p:sp>
        <p:grpSp>
          <p:nvGrpSpPr>
            <p:cNvPr id="23" name="组合 22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10" name="直接连接符 9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箭头连接符 11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文本框 21"/>
              <p:cNvSpPr txBox="1"/>
              <p:nvPr/>
            </p:nvSpPr>
            <p:spPr>
              <a:xfrm>
                <a:off x="1886115" y="2595893"/>
                <a:ext cx="1885782" cy="124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di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+mn-cs"/>
                  </a:rPr>
                  <a:t>添加标题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74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313909"/>
            <a:ext cx="10858500" cy="4816096"/>
            <a:chOff x="660400" y="1313909"/>
            <a:chExt cx="10858500" cy="4816096"/>
          </a:xfrm>
        </p:grpSpPr>
        <p:sp>
          <p:nvSpPr>
            <p:cNvPr id="6" name="ïşḻíďê"/>
            <p:cNvSpPr/>
            <p:nvPr/>
          </p:nvSpPr>
          <p:spPr bwMode="auto">
            <a:xfrm>
              <a:off x="1482468" y="1701507"/>
              <a:ext cx="3223899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11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7" name="ïşḻîḍè"/>
            <p:cNvSpPr txBox="1"/>
            <p:nvPr/>
          </p:nvSpPr>
          <p:spPr bwMode="auto">
            <a:xfrm>
              <a:off x="1482468" y="1313909"/>
              <a:ext cx="3223899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内容</a:t>
              </a:r>
              <a:endParaRPr lang="en-US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8" name="íSḷíḋe"/>
            <p:cNvSpPr/>
            <p:nvPr/>
          </p:nvSpPr>
          <p:spPr bwMode="auto">
            <a:xfrm>
              <a:off x="8040362" y="2892706"/>
              <a:ext cx="3478537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9" name="iṩḷiḑé"/>
            <p:cNvSpPr txBox="1"/>
            <p:nvPr/>
          </p:nvSpPr>
          <p:spPr bwMode="auto">
            <a:xfrm>
              <a:off x="8040362" y="2505108"/>
              <a:ext cx="3478537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内容</a:t>
              </a:r>
              <a:endParaRPr lang="en-US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0" name="ï$1iḓè"/>
            <p:cNvSpPr/>
            <p:nvPr/>
          </p:nvSpPr>
          <p:spPr bwMode="auto">
            <a:xfrm>
              <a:off x="7206085" y="4827070"/>
              <a:ext cx="3150422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11" name="íśľíḍé"/>
            <p:cNvSpPr txBox="1"/>
            <p:nvPr/>
          </p:nvSpPr>
          <p:spPr bwMode="auto">
            <a:xfrm>
              <a:off x="7206085" y="4439472"/>
              <a:ext cx="3150422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内容</a:t>
              </a:r>
              <a:endParaRPr lang="en-US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2" name="îṧľïḓe"/>
            <p:cNvSpPr/>
            <p:nvPr/>
          </p:nvSpPr>
          <p:spPr bwMode="auto">
            <a:xfrm>
              <a:off x="750594" y="3375532"/>
              <a:ext cx="3223899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11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13" name="îṡľíḍé"/>
            <p:cNvSpPr txBox="1"/>
            <p:nvPr/>
          </p:nvSpPr>
          <p:spPr bwMode="auto">
            <a:xfrm>
              <a:off x="750594" y="2987934"/>
              <a:ext cx="3223899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内容</a:t>
              </a:r>
              <a:endParaRPr lang="en-US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4" name="iŝlîďe"/>
            <p:cNvSpPr/>
            <p:nvPr/>
          </p:nvSpPr>
          <p:spPr>
            <a:xfrm>
              <a:off x="660400" y="5506860"/>
              <a:ext cx="10858500" cy="6231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dist">
                <a:spcBef>
                  <a:spcPct val="0"/>
                </a:spcBef>
              </a:pPr>
              <a:r>
                <a:rPr lang="en-US" altLang="zh-CN" sz="1600" dirty="0">
                  <a:solidFill>
                    <a:schemeClr val="tx1"/>
                  </a:solidFill>
                  <a:ea typeface="阿里巴巴普惠体" panose="00020600040101010101" pitchFamily="18" charset="-122"/>
                </a:rPr>
                <a:t>315</a:t>
              </a:r>
              <a:r>
                <a:rPr lang="zh-CN" altLang="en-US" sz="1600" dirty="0">
                  <a:solidFill>
                    <a:schemeClr val="tx1"/>
                  </a:solidFill>
                  <a:ea typeface="阿里巴巴普惠体" panose="00020600040101010101" pitchFamily="18" charset="-122"/>
                </a:rPr>
                <a:t>为我的权益做主</a:t>
              </a:r>
              <a:endParaRPr lang="en-US" altLang="zh-CN" sz="1600" dirty="0">
                <a:solidFill>
                  <a:schemeClr val="tx1"/>
                </a:solidFill>
                <a:ea typeface="阿里巴巴普惠体" panose="00020600040101010101" pitchFamily="18" charset="-122"/>
              </a:endParaRPr>
            </a:p>
          </p:txBody>
        </p:sp>
        <p:grpSp>
          <p:nvGrpSpPr>
            <p:cNvPr id="15" name="iSḻîďé"/>
            <p:cNvGrpSpPr/>
            <p:nvPr/>
          </p:nvGrpSpPr>
          <p:grpSpPr>
            <a:xfrm>
              <a:off x="4203700" y="1385906"/>
              <a:ext cx="3784600" cy="3794330"/>
              <a:chOff x="3989560" y="1539000"/>
              <a:chExt cx="4212880" cy="4223712"/>
            </a:xfrm>
          </p:grpSpPr>
          <p:sp>
            <p:nvSpPr>
              <p:cNvPr id="16" name="iŝľíḍé"/>
              <p:cNvSpPr/>
              <p:nvPr/>
            </p:nvSpPr>
            <p:spPr bwMode="auto">
              <a:xfrm>
                <a:off x="3989560" y="2338256"/>
                <a:ext cx="2614369" cy="2545055"/>
              </a:xfrm>
              <a:custGeom>
                <a:avLst/>
                <a:gdLst/>
                <a:ahLst/>
                <a:cxnLst>
                  <a:cxn ang="0">
                    <a:pos x="265" y="22"/>
                  </a:cxn>
                  <a:cxn ang="0">
                    <a:pos x="399" y="0"/>
                  </a:cxn>
                  <a:cxn ang="0">
                    <a:pos x="644" y="84"/>
                  </a:cxn>
                  <a:cxn ang="0">
                    <a:pos x="682" y="117"/>
                  </a:cxn>
                  <a:cxn ang="0">
                    <a:pos x="778" y="268"/>
                  </a:cxn>
                  <a:cxn ang="0">
                    <a:pos x="799" y="391"/>
                  </a:cxn>
                  <a:cxn ang="0">
                    <a:pos x="754" y="291"/>
                  </a:cxn>
                  <a:cxn ang="0">
                    <a:pos x="644" y="246"/>
                  </a:cxn>
                  <a:cxn ang="0">
                    <a:pos x="644" y="246"/>
                  </a:cxn>
                  <a:cxn ang="0">
                    <a:pos x="643" y="246"/>
                  </a:cxn>
                  <a:cxn ang="0">
                    <a:pos x="510" y="267"/>
                  </a:cxn>
                  <a:cxn ang="0">
                    <a:pos x="360" y="363"/>
                  </a:cxn>
                  <a:cxn ang="0">
                    <a:pos x="326" y="401"/>
                  </a:cxn>
                  <a:cxn ang="0">
                    <a:pos x="243" y="646"/>
                  </a:cxn>
                  <a:cxn ang="0">
                    <a:pos x="264" y="777"/>
                  </a:cxn>
                  <a:cxn ang="0">
                    <a:pos x="117" y="682"/>
                  </a:cxn>
                  <a:cxn ang="0">
                    <a:pos x="0" y="400"/>
                  </a:cxn>
                  <a:cxn ang="0">
                    <a:pos x="117" y="117"/>
                  </a:cxn>
                  <a:cxn ang="0">
                    <a:pos x="265" y="22"/>
                  </a:cxn>
                </a:cxnLst>
                <a:rect l="0" t="0" r="r" b="b"/>
                <a:pathLst>
                  <a:path w="799" h="777">
                    <a:moveTo>
                      <a:pt x="265" y="22"/>
                    </a:moveTo>
                    <a:cubicBezTo>
                      <a:pt x="307" y="8"/>
                      <a:pt x="351" y="0"/>
                      <a:pt x="399" y="0"/>
                    </a:cubicBezTo>
                    <a:cubicBezTo>
                      <a:pt x="492" y="0"/>
                      <a:pt x="574" y="28"/>
                      <a:pt x="644" y="84"/>
                    </a:cubicBezTo>
                    <a:cubicBezTo>
                      <a:pt x="657" y="94"/>
                      <a:pt x="670" y="105"/>
                      <a:pt x="682" y="117"/>
                    </a:cubicBezTo>
                    <a:cubicBezTo>
                      <a:pt x="727" y="162"/>
                      <a:pt x="759" y="212"/>
                      <a:pt x="778" y="268"/>
                    </a:cubicBezTo>
                    <a:cubicBezTo>
                      <a:pt x="791" y="306"/>
                      <a:pt x="798" y="347"/>
                      <a:pt x="799" y="391"/>
                    </a:cubicBezTo>
                    <a:cubicBezTo>
                      <a:pt x="797" y="353"/>
                      <a:pt x="781" y="319"/>
                      <a:pt x="754" y="291"/>
                    </a:cubicBezTo>
                    <a:cubicBezTo>
                      <a:pt x="723" y="261"/>
                      <a:pt x="687" y="246"/>
                      <a:pt x="644" y="246"/>
                    </a:cubicBezTo>
                    <a:cubicBezTo>
                      <a:pt x="644" y="246"/>
                      <a:pt x="644" y="246"/>
                      <a:pt x="644" y="246"/>
                    </a:cubicBezTo>
                    <a:cubicBezTo>
                      <a:pt x="644" y="246"/>
                      <a:pt x="643" y="246"/>
                      <a:pt x="643" y="246"/>
                    </a:cubicBezTo>
                    <a:cubicBezTo>
                      <a:pt x="596" y="246"/>
                      <a:pt x="552" y="253"/>
                      <a:pt x="510" y="267"/>
                    </a:cubicBezTo>
                    <a:cubicBezTo>
                      <a:pt x="455" y="286"/>
                      <a:pt x="405" y="318"/>
                      <a:pt x="360" y="363"/>
                    </a:cubicBezTo>
                    <a:cubicBezTo>
                      <a:pt x="348" y="375"/>
                      <a:pt x="337" y="388"/>
                      <a:pt x="326" y="401"/>
                    </a:cubicBezTo>
                    <a:cubicBezTo>
                      <a:pt x="271" y="471"/>
                      <a:pt x="243" y="553"/>
                      <a:pt x="243" y="646"/>
                    </a:cubicBezTo>
                    <a:cubicBezTo>
                      <a:pt x="243" y="693"/>
                      <a:pt x="250" y="736"/>
                      <a:pt x="264" y="777"/>
                    </a:cubicBezTo>
                    <a:cubicBezTo>
                      <a:pt x="210" y="758"/>
                      <a:pt x="161" y="726"/>
                      <a:pt x="117" y="682"/>
                    </a:cubicBezTo>
                    <a:cubicBezTo>
                      <a:pt x="39" y="604"/>
                      <a:pt x="0" y="510"/>
                      <a:pt x="0" y="400"/>
                    </a:cubicBezTo>
                    <a:cubicBezTo>
                      <a:pt x="0" y="290"/>
                      <a:pt x="39" y="195"/>
                      <a:pt x="117" y="117"/>
                    </a:cubicBezTo>
                    <a:cubicBezTo>
                      <a:pt x="161" y="73"/>
                      <a:pt x="210" y="42"/>
                      <a:pt x="265" y="22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17" name="ïṣ1íḋe"/>
              <p:cNvSpPr/>
              <p:nvPr/>
            </p:nvSpPr>
            <p:spPr bwMode="auto">
              <a:xfrm>
                <a:off x="4855964" y="1539000"/>
                <a:ext cx="2545057" cy="2620865"/>
              </a:xfrm>
              <a:custGeom>
                <a:avLst/>
                <a:gdLst/>
                <a:ahLst/>
                <a:cxnLst>
                  <a:cxn ang="0">
                    <a:pos x="390" y="800"/>
                  </a:cxn>
                  <a:cxn ang="0">
                    <a:pos x="489" y="755"/>
                  </a:cxn>
                  <a:cxn ang="0">
                    <a:pos x="534" y="657"/>
                  </a:cxn>
                  <a:cxn ang="0">
                    <a:pos x="534" y="645"/>
                  </a:cxn>
                  <a:cxn ang="0">
                    <a:pos x="534" y="635"/>
                  </a:cxn>
                  <a:cxn ang="0">
                    <a:pos x="513" y="512"/>
                  </a:cxn>
                  <a:cxn ang="0">
                    <a:pos x="417" y="361"/>
                  </a:cxn>
                  <a:cxn ang="0">
                    <a:pos x="379" y="328"/>
                  </a:cxn>
                  <a:cxn ang="0">
                    <a:pos x="134" y="244"/>
                  </a:cxn>
                  <a:cxn ang="0">
                    <a:pos x="0" y="266"/>
                  </a:cxn>
                  <a:cxn ang="0">
                    <a:pos x="95" y="117"/>
                  </a:cxn>
                  <a:cxn ang="0">
                    <a:pos x="378" y="0"/>
                  </a:cxn>
                  <a:cxn ang="0">
                    <a:pos x="661" y="117"/>
                  </a:cxn>
                  <a:cxn ang="0">
                    <a:pos x="756" y="266"/>
                  </a:cxn>
                  <a:cxn ang="0">
                    <a:pos x="778" y="400"/>
                  </a:cxn>
                  <a:cxn ang="0">
                    <a:pos x="695" y="645"/>
                  </a:cxn>
                  <a:cxn ang="0">
                    <a:pos x="661" y="683"/>
                  </a:cxn>
                  <a:cxn ang="0">
                    <a:pos x="512" y="778"/>
                  </a:cxn>
                  <a:cxn ang="0">
                    <a:pos x="390" y="800"/>
                  </a:cxn>
                </a:cxnLst>
                <a:rect l="0" t="0" r="r" b="b"/>
                <a:pathLst>
                  <a:path w="778" h="800">
                    <a:moveTo>
                      <a:pt x="390" y="800"/>
                    </a:moveTo>
                    <a:cubicBezTo>
                      <a:pt x="428" y="798"/>
                      <a:pt x="461" y="783"/>
                      <a:pt x="489" y="755"/>
                    </a:cubicBezTo>
                    <a:cubicBezTo>
                      <a:pt x="516" y="727"/>
                      <a:pt x="531" y="695"/>
                      <a:pt x="534" y="657"/>
                    </a:cubicBezTo>
                    <a:cubicBezTo>
                      <a:pt x="534" y="653"/>
                      <a:pt x="534" y="649"/>
                      <a:pt x="534" y="645"/>
                    </a:cubicBezTo>
                    <a:cubicBezTo>
                      <a:pt x="534" y="642"/>
                      <a:pt x="534" y="638"/>
                      <a:pt x="534" y="635"/>
                    </a:cubicBezTo>
                    <a:cubicBezTo>
                      <a:pt x="533" y="591"/>
                      <a:pt x="526" y="550"/>
                      <a:pt x="513" y="512"/>
                    </a:cubicBezTo>
                    <a:cubicBezTo>
                      <a:pt x="494" y="456"/>
                      <a:pt x="462" y="406"/>
                      <a:pt x="417" y="361"/>
                    </a:cubicBezTo>
                    <a:cubicBezTo>
                      <a:pt x="405" y="349"/>
                      <a:pt x="392" y="338"/>
                      <a:pt x="379" y="328"/>
                    </a:cubicBezTo>
                    <a:cubicBezTo>
                      <a:pt x="309" y="272"/>
                      <a:pt x="227" y="244"/>
                      <a:pt x="134" y="244"/>
                    </a:cubicBezTo>
                    <a:cubicBezTo>
                      <a:pt x="86" y="244"/>
                      <a:pt x="42" y="252"/>
                      <a:pt x="0" y="266"/>
                    </a:cubicBezTo>
                    <a:cubicBezTo>
                      <a:pt x="19" y="212"/>
                      <a:pt x="51" y="162"/>
                      <a:pt x="95" y="117"/>
                    </a:cubicBezTo>
                    <a:cubicBezTo>
                      <a:pt x="173" y="39"/>
                      <a:pt x="268" y="0"/>
                      <a:pt x="378" y="0"/>
                    </a:cubicBezTo>
                    <a:cubicBezTo>
                      <a:pt x="488" y="0"/>
                      <a:pt x="583" y="39"/>
                      <a:pt x="661" y="117"/>
                    </a:cubicBezTo>
                    <a:cubicBezTo>
                      <a:pt x="705" y="162"/>
                      <a:pt x="737" y="211"/>
                      <a:pt x="756" y="266"/>
                    </a:cubicBezTo>
                    <a:cubicBezTo>
                      <a:pt x="771" y="308"/>
                      <a:pt x="778" y="352"/>
                      <a:pt x="778" y="400"/>
                    </a:cubicBezTo>
                    <a:cubicBezTo>
                      <a:pt x="778" y="493"/>
                      <a:pt x="750" y="575"/>
                      <a:pt x="695" y="645"/>
                    </a:cubicBezTo>
                    <a:cubicBezTo>
                      <a:pt x="684" y="658"/>
                      <a:pt x="673" y="671"/>
                      <a:pt x="661" y="683"/>
                    </a:cubicBezTo>
                    <a:cubicBezTo>
                      <a:pt x="616" y="727"/>
                      <a:pt x="567" y="759"/>
                      <a:pt x="512" y="778"/>
                    </a:cubicBezTo>
                    <a:cubicBezTo>
                      <a:pt x="474" y="792"/>
                      <a:pt x="433" y="799"/>
                      <a:pt x="390" y="80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18" name="ïšļiďé"/>
              <p:cNvSpPr/>
              <p:nvPr/>
            </p:nvSpPr>
            <p:spPr bwMode="auto">
              <a:xfrm>
                <a:off x="5590238" y="2411902"/>
                <a:ext cx="2612202" cy="2547219"/>
              </a:xfrm>
              <a:custGeom>
                <a:avLst/>
                <a:gdLst/>
                <a:ahLst/>
                <a:cxnLst>
                  <a:cxn ang="0">
                    <a:pos x="532" y="0"/>
                  </a:cxn>
                  <a:cxn ang="0">
                    <a:pos x="682" y="95"/>
                  </a:cxn>
                  <a:cxn ang="0">
                    <a:pos x="799" y="378"/>
                  </a:cxn>
                  <a:cxn ang="0">
                    <a:pos x="682" y="660"/>
                  </a:cxn>
                  <a:cxn ang="0">
                    <a:pos x="533" y="756"/>
                  </a:cxn>
                  <a:cxn ang="0">
                    <a:pos x="399" y="778"/>
                  </a:cxn>
                  <a:cxn ang="0">
                    <a:pos x="155" y="694"/>
                  </a:cxn>
                  <a:cxn ang="0">
                    <a:pos x="117" y="660"/>
                  </a:cxn>
                  <a:cxn ang="0">
                    <a:pos x="22" y="513"/>
                  </a:cxn>
                  <a:cxn ang="0">
                    <a:pos x="0" y="391"/>
                  </a:cxn>
                  <a:cxn ang="0">
                    <a:pos x="45" y="489"/>
                  </a:cxn>
                  <a:cxn ang="0">
                    <a:pos x="145" y="534"/>
                  </a:cxn>
                  <a:cxn ang="0">
                    <a:pos x="155" y="534"/>
                  </a:cxn>
                  <a:cxn ang="0">
                    <a:pos x="166" y="534"/>
                  </a:cxn>
                  <a:cxn ang="0">
                    <a:pos x="288" y="512"/>
                  </a:cxn>
                  <a:cxn ang="0">
                    <a:pos x="437" y="417"/>
                  </a:cxn>
                  <a:cxn ang="0">
                    <a:pos x="471" y="379"/>
                  </a:cxn>
                  <a:cxn ang="0">
                    <a:pos x="554" y="134"/>
                  </a:cxn>
                  <a:cxn ang="0">
                    <a:pos x="532" y="0"/>
                  </a:cxn>
                </a:cxnLst>
                <a:rect l="0" t="0" r="r" b="b"/>
                <a:pathLst>
                  <a:path w="799" h="778">
                    <a:moveTo>
                      <a:pt x="532" y="0"/>
                    </a:moveTo>
                    <a:cubicBezTo>
                      <a:pt x="587" y="19"/>
                      <a:pt x="637" y="51"/>
                      <a:pt x="682" y="95"/>
                    </a:cubicBezTo>
                    <a:cubicBezTo>
                      <a:pt x="760" y="173"/>
                      <a:pt x="799" y="268"/>
                      <a:pt x="799" y="378"/>
                    </a:cubicBezTo>
                    <a:cubicBezTo>
                      <a:pt x="799" y="488"/>
                      <a:pt x="760" y="582"/>
                      <a:pt x="682" y="660"/>
                    </a:cubicBezTo>
                    <a:cubicBezTo>
                      <a:pt x="637" y="705"/>
                      <a:pt x="588" y="737"/>
                      <a:pt x="533" y="756"/>
                    </a:cubicBezTo>
                    <a:cubicBezTo>
                      <a:pt x="491" y="770"/>
                      <a:pt x="447" y="778"/>
                      <a:pt x="399" y="778"/>
                    </a:cubicBezTo>
                    <a:cubicBezTo>
                      <a:pt x="306" y="778"/>
                      <a:pt x="225" y="750"/>
                      <a:pt x="155" y="694"/>
                    </a:cubicBezTo>
                    <a:cubicBezTo>
                      <a:pt x="142" y="684"/>
                      <a:pt x="129" y="673"/>
                      <a:pt x="117" y="660"/>
                    </a:cubicBezTo>
                    <a:cubicBezTo>
                      <a:pt x="73" y="616"/>
                      <a:pt x="41" y="567"/>
                      <a:pt x="22" y="513"/>
                    </a:cubicBezTo>
                    <a:cubicBezTo>
                      <a:pt x="9" y="475"/>
                      <a:pt x="1" y="434"/>
                      <a:pt x="0" y="391"/>
                    </a:cubicBezTo>
                    <a:cubicBezTo>
                      <a:pt x="2" y="429"/>
                      <a:pt x="18" y="461"/>
                      <a:pt x="45" y="489"/>
                    </a:cubicBezTo>
                    <a:cubicBezTo>
                      <a:pt x="73" y="517"/>
                      <a:pt x="106" y="532"/>
                      <a:pt x="145" y="534"/>
                    </a:cubicBezTo>
                    <a:cubicBezTo>
                      <a:pt x="148" y="534"/>
                      <a:pt x="151" y="534"/>
                      <a:pt x="155" y="534"/>
                    </a:cubicBezTo>
                    <a:cubicBezTo>
                      <a:pt x="159" y="534"/>
                      <a:pt x="162" y="534"/>
                      <a:pt x="166" y="534"/>
                    </a:cubicBezTo>
                    <a:cubicBezTo>
                      <a:pt x="209" y="533"/>
                      <a:pt x="250" y="526"/>
                      <a:pt x="288" y="512"/>
                    </a:cubicBezTo>
                    <a:cubicBezTo>
                      <a:pt x="343" y="493"/>
                      <a:pt x="392" y="461"/>
                      <a:pt x="437" y="417"/>
                    </a:cubicBezTo>
                    <a:cubicBezTo>
                      <a:pt x="449" y="405"/>
                      <a:pt x="460" y="392"/>
                      <a:pt x="471" y="379"/>
                    </a:cubicBezTo>
                    <a:cubicBezTo>
                      <a:pt x="526" y="309"/>
                      <a:pt x="554" y="227"/>
                      <a:pt x="554" y="134"/>
                    </a:cubicBezTo>
                    <a:cubicBezTo>
                      <a:pt x="554" y="86"/>
                      <a:pt x="547" y="42"/>
                      <a:pt x="532" y="0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19" name="î$ḷîḑe"/>
              <p:cNvSpPr/>
              <p:nvPr/>
            </p:nvSpPr>
            <p:spPr bwMode="auto">
              <a:xfrm>
                <a:off x="4784486" y="3144011"/>
                <a:ext cx="2547221" cy="2618701"/>
              </a:xfrm>
              <a:custGeom>
                <a:avLst/>
                <a:gdLst/>
                <a:ahLst/>
                <a:cxnLst>
                  <a:cxn ang="0">
                    <a:pos x="400" y="0"/>
                  </a:cxn>
                  <a:cxn ang="0">
                    <a:pos x="400" y="0"/>
                  </a:cxn>
                  <a:cxn ang="0">
                    <a:pos x="291" y="45"/>
                  </a:cxn>
                  <a:cxn ang="0">
                    <a:pos x="246" y="145"/>
                  </a:cxn>
                  <a:cxn ang="0">
                    <a:pos x="246" y="155"/>
                  </a:cxn>
                  <a:cxn ang="0">
                    <a:pos x="246" y="167"/>
                  </a:cxn>
                  <a:cxn ang="0">
                    <a:pos x="268" y="289"/>
                  </a:cxn>
                  <a:cxn ang="0">
                    <a:pos x="363" y="436"/>
                  </a:cxn>
                  <a:cxn ang="0">
                    <a:pos x="401" y="470"/>
                  </a:cxn>
                  <a:cxn ang="0">
                    <a:pos x="645" y="554"/>
                  </a:cxn>
                  <a:cxn ang="0">
                    <a:pos x="779" y="532"/>
                  </a:cxn>
                  <a:cxn ang="0">
                    <a:pos x="683" y="683"/>
                  </a:cxn>
                  <a:cxn ang="0">
                    <a:pos x="400" y="800"/>
                  </a:cxn>
                  <a:cxn ang="0">
                    <a:pos x="117" y="683"/>
                  </a:cxn>
                  <a:cxn ang="0">
                    <a:pos x="21" y="531"/>
                  </a:cxn>
                  <a:cxn ang="0">
                    <a:pos x="0" y="400"/>
                  </a:cxn>
                  <a:cxn ang="0">
                    <a:pos x="83" y="155"/>
                  </a:cxn>
                  <a:cxn ang="0">
                    <a:pos x="117" y="117"/>
                  </a:cxn>
                  <a:cxn ang="0">
                    <a:pos x="267" y="21"/>
                  </a:cxn>
                  <a:cxn ang="0">
                    <a:pos x="400" y="0"/>
                  </a:cxn>
                </a:cxnLst>
                <a:rect l="0" t="0" r="r" b="b"/>
                <a:pathLst>
                  <a:path w="779" h="800">
                    <a:moveTo>
                      <a:pt x="400" y="0"/>
                    </a:moveTo>
                    <a:cubicBezTo>
                      <a:pt x="400" y="0"/>
                      <a:pt x="400" y="0"/>
                      <a:pt x="400" y="0"/>
                    </a:cubicBezTo>
                    <a:cubicBezTo>
                      <a:pt x="358" y="0"/>
                      <a:pt x="321" y="15"/>
                      <a:pt x="291" y="45"/>
                    </a:cubicBezTo>
                    <a:cubicBezTo>
                      <a:pt x="263" y="73"/>
                      <a:pt x="248" y="107"/>
                      <a:pt x="246" y="145"/>
                    </a:cubicBezTo>
                    <a:cubicBezTo>
                      <a:pt x="246" y="148"/>
                      <a:pt x="246" y="152"/>
                      <a:pt x="246" y="155"/>
                    </a:cubicBezTo>
                    <a:cubicBezTo>
                      <a:pt x="246" y="159"/>
                      <a:pt x="246" y="163"/>
                      <a:pt x="246" y="167"/>
                    </a:cubicBezTo>
                    <a:cubicBezTo>
                      <a:pt x="247" y="210"/>
                      <a:pt x="255" y="251"/>
                      <a:pt x="268" y="289"/>
                    </a:cubicBezTo>
                    <a:cubicBezTo>
                      <a:pt x="287" y="343"/>
                      <a:pt x="319" y="392"/>
                      <a:pt x="363" y="436"/>
                    </a:cubicBezTo>
                    <a:cubicBezTo>
                      <a:pt x="375" y="449"/>
                      <a:pt x="388" y="460"/>
                      <a:pt x="401" y="470"/>
                    </a:cubicBezTo>
                    <a:cubicBezTo>
                      <a:pt x="471" y="526"/>
                      <a:pt x="552" y="554"/>
                      <a:pt x="645" y="554"/>
                    </a:cubicBezTo>
                    <a:cubicBezTo>
                      <a:pt x="693" y="554"/>
                      <a:pt x="737" y="546"/>
                      <a:pt x="779" y="532"/>
                    </a:cubicBezTo>
                    <a:cubicBezTo>
                      <a:pt x="760" y="587"/>
                      <a:pt x="728" y="638"/>
                      <a:pt x="683" y="683"/>
                    </a:cubicBezTo>
                    <a:cubicBezTo>
                      <a:pt x="605" y="761"/>
                      <a:pt x="510" y="800"/>
                      <a:pt x="400" y="800"/>
                    </a:cubicBezTo>
                    <a:cubicBezTo>
                      <a:pt x="290" y="800"/>
                      <a:pt x="195" y="761"/>
                      <a:pt x="117" y="683"/>
                    </a:cubicBezTo>
                    <a:cubicBezTo>
                      <a:pt x="72" y="638"/>
                      <a:pt x="40" y="587"/>
                      <a:pt x="21" y="531"/>
                    </a:cubicBezTo>
                    <a:cubicBezTo>
                      <a:pt x="7" y="490"/>
                      <a:pt x="0" y="447"/>
                      <a:pt x="0" y="400"/>
                    </a:cubicBezTo>
                    <a:cubicBezTo>
                      <a:pt x="0" y="307"/>
                      <a:pt x="28" y="225"/>
                      <a:pt x="83" y="155"/>
                    </a:cubicBezTo>
                    <a:cubicBezTo>
                      <a:pt x="94" y="142"/>
                      <a:pt x="105" y="129"/>
                      <a:pt x="117" y="117"/>
                    </a:cubicBezTo>
                    <a:cubicBezTo>
                      <a:pt x="162" y="72"/>
                      <a:pt x="212" y="40"/>
                      <a:pt x="267" y="21"/>
                    </a:cubicBezTo>
                    <a:cubicBezTo>
                      <a:pt x="309" y="7"/>
                      <a:pt x="353" y="0"/>
                      <a:pt x="400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0" name="iṩḻîde"/>
              <p:cNvSpPr/>
              <p:nvPr/>
            </p:nvSpPr>
            <p:spPr bwMode="auto">
              <a:xfrm>
                <a:off x="4418252" y="2975514"/>
                <a:ext cx="558281" cy="508724"/>
              </a:xfrm>
              <a:custGeom>
                <a:avLst/>
                <a:gdLst/>
                <a:ahLst/>
                <a:cxnLst>
                  <a:cxn ang="0">
                    <a:pos x="45" y="41"/>
                  </a:cxn>
                  <a:cxn ang="0">
                    <a:pos x="47" y="50"/>
                  </a:cxn>
                  <a:cxn ang="0">
                    <a:pos x="40" y="56"/>
                  </a:cxn>
                  <a:cxn ang="0">
                    <a:pos x="31" y="60"/>
                  </a:cxn>
                  <a:cxn ang="0">
                    <a:pos x="21" y="60"/>
                  </a:cxn>
                  <a:cxn ang="0">
                    <a:pos x="13" y="56"/>
                  </a:cxn>
                  <a:cxn ang="0">
                    <a:pos x="5" y="50"/>
                  </a:cxn>
                  <a:cxn ang="0">
                    <a:pos x="8" y="41"/>
                  </a:cxn>
                  <a:cxn ang="0">
                    <a:pos x="0" y="32"/>
                  </a:cxn>
                  <a:cxn ang="0">
                    <a:pos x="9" y="26"/>
                  </a:cxn>
                  <a:cxn ang="0">
                    <a:pos x="5" y="20"/>
                  </a:cxn>
                  <a:cxn ang="0">
                    <a:pos x="17" y="18"/>
                  </a:cxn>
                  <a:cxn ang="0">
                    <a:pos x="22" y="10"/>
                  </a:cxn>
                  <a:cxn ang="0">
                    <a:pos x="32" y="17"/>
                  </a:cxn>
                  <a:cxn ang="0">
                    <a:pos x="41" y="14"/>
                  </a:cxn>
                  <a:cxn ang="0">
                    <a:pos x="47" y="22"/>
                  </a:cxn>
                  <a:cxn ang="0">
                    <a:pos x="51" y="30"/>
                  </a:cxn>
                  <a:cxn ang="0">
                    <a:pos x="26" y="25"/>
                  </a:cxn>
                  <a:cxn ang="0">
                    <a:pos x="36" y="35"/>
                  </a:cxn>
                  <a:cxn ang="0">
                    <a:pos x="72" y="19"/>
                  </a:cxn>
                  <a:cxn ang="0">
                    <a:pos x="72" y="27"/>
                  </a:cxn>
                  <a:cxn ang="0">
                    <a:pos x="62" y="25"/>
                  </a:cxn>
                  <a:cxn ang="0">
                    <a:pos x="52" y="27"/>
                  </a:cxn>
                  <a:cxn ang="0">
                    <a:pos x="53" y="19"/>
                  </a:cxn>
                  <a:cxn ang="0">
                    <a:pos x="53" y="11"/>
                  </a:cxn>
                  <a:cxn ang="0">
                    <a:pos x="52" y="3"/>
                  </a:cxn>
                  <a:cxn ang="0">
                    <a:pos x="62" y="4"/>
                  </a:cxn>
                  <a:cxn ang="0">
                    <a:pos x="67" y="0"/>
                  </a:cxn>
                  <a:cxn ang="0">
                    <a:pos x="70" y="9"/>
                  </a:cxn>
                  <a:cxn ang="0">
                    <a:pos x="78" y="18"/>
                  </a:cxn>
                  <a:cxn ang="0">
                    <a:pos x="70" y="62"/>
                  </a:cxn>
                  <a:cxn ang="0">
                    <a:pos x="67" y="71"/>
                  </a:cxn>
                  <a:cxn ang="0">
                    <a:pos x="61" y="66"/>
                  </a:cxn>
                  <a:cxn ang="0">
                    <a:pos x="52" y="68"/>
                  </a:cxn>
                  <a:cxn ang="0">
                    <a:pos x="47" y="59"/>
                  </a:cxn>
                  <a:cxn ang="0">
                    <a:pos x="54" y="50"/>
                  </a:cxn>
                  <a:cxn ang="0">
                    <a:pos x="57" y="41"/>
                  </a:cxn>
                  <a:cxn ang="0">
                    <a:pos x="63" y="46"/>
                  </a:cxn>
                  <a:cxn ang="0">
                    <a:pos x="72" y="44"/>
                  </a:cxn>
                  <a:cxn ang="0">
                    <a:pos x="72" y="52"/>
                  </a:cxn>
                  <a:cxn ang="0">
                    <a:pos x="62" y="10"/>
                  </a:cxn>
                  <a:cxn ang="0">
                    <a:pos x="67" y="15"/>
                  </a:cxn>
                  <a:cxn ang="0">
                    <a:pos x="57" y="56"/>
                  </a:cxn>
                  <a:cxn ang="0">
                    <a:pos x="62" y="51"/>
                  </a:cxn>
                </a:cxnLst>
                <a:rect l="0" t="0" r="r" b="b"/>
                <a:pathLst>
                  <a:path w="78" h="71">
                    <a:moveTo>
                      <a:pt x="52" y="39"/>
                    </a:moveTo>
                    <a:cubicBezTo>
                      <a:pt x="52" y="40"/>
                      <a:pt x="51" y="40"/>
                      <a:pt x="51" y="40"/>
                    </a:cubicBezTo>
                    <a:cubicBezTo>
                      <a:pt x="45" y="41"/>
                      <a:pt x="45" y="41"/>
                      <a:pt x="45" y="41"/>
                    </a:cubicBezTo>
                    <a:cubicBezTo>
                      <a:pt x="44" y="42"/>
                      <a:pt x="44" y="43"/>
                      <a:pt x="43" y="44"/>
                    </a:cubicBezTo>
                    <a:cubicBezTo>
                      <a:pt x="45" y="46"/>
                      <a:pt x="46" y="47"/>
                      <a:pt x="47" y="49"/>
                    </a:cubicBezTo>
                    <a:cubicBezTo>
                      <a:pt x="47" y="49"/>
                      <a:pt x="47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46" y="52"/>
                      <a:pt x="42" y="56"/>
                      <a:pt x="41" y="56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4" y="53"/>
                      <a:pt x="33" y="53"/>
                      <a:pt x="32" y="54"/>
                    </a:cubicBezTo>
                    <a:cubicBezTo>
                      <a:pt x="32" y="56"/>
                      <a:pt x="32" y="58"/>
                      <a:pt x="31" y="60"/>
                    </a:cubicBezTo>
                    <a:cubicBezTo>
                      <a:pt x="31" y="61"/>
                      <a:pt x="30" y="61"/>
                      <a:pt x="30" y="61"/>
                    </a:cubicBezTo>
                    <a:cubicBezTo>
                      <a:pt x="22" y="61"/>
                      <a:pt x="22" y="61"/>
                      <a:pt x="22" y="61"/>
                    </a:cubicBezTo>
                    <a:cubicBezTo>
                      <a:pt x="22" y="61"/>
                      <a:pt x="21" y="61"/>
                      <a:pt x="21" y="60"/>
                    </a:cubicBezTo>
                    <a:cubicBezTo>
                      <a:pt x="20" y="54"/>
                      <a:pt x="20" y="54"/>
                      <a:pt x="20" y="54"/>
                    </a:cubicBezTo>
                    <a:cubicBezTo>
                      <a:pt x="19" y="54"/>
                      <a:pt x="18" y="53"/>
                      <a:pt x="17" y="53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1" y="56"/>
                      <a:pt x="11" y="56"/>
                      <a:pt x="11" y="56"/>
                    </a:cubicBezTo>
                    <a:cubicBezTo>
                      <a:pt x="10" y="55"/>
                      <a:pt x="5" y="51"/>
                      <a:pt x="5" y="50"/>
                    </a:cubicBezTo>
                    <a:cubicBezTo>
                      <a:pt x="5" y="49"/>
                      <a:pt x="5" y="49"/>
                      <a:pt x="5" y="49"/>
                    </a:cubicBezTo>
                    <a:cubicBezTo>
                      <a:pt x="7" y="47"/>
                      <a:pt x="8" y="46"/>
                      <a:pt x="9" y="44"/>
                    </a:cubicBezTo>
                    <a:cubicBezTo>
                      <a:pt x="8" y="43"/>
                      <a:pt x="8" y="42"/>
                      <a:pt x="8" y="41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40"/>
                      <a:pt x="0" y="40"/>
                      <a:pt x="0" y="39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1"/>
                      <a:pt x="1" y="30"/>
                      <a:pt x="1" y="30"/>
                    </a:cubicBezTo>
                    <a:cubicBezTo>
                      <a:pt x="8" y="29"/>
                      <a:pt x="8" y="29"/>
                      <a:pt x="8" y="29"/>
                    </a:cubicBezTo>
                    <a:cubicBezTo>
                      <a:pt x="8" y="28"/>
                      <a:pt x="8" y="27"/>
                      <a:pt x="9" y="26"/>
                    </a:cubicBezTo>
                    <a:cubicBezTo>
                      <a:pt x="8" y="25"/>
                      <a:pt x="7" y="23"/>
                      <a:pt x="5" y="22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5" y="21"/>
                      <a:pt x="5" y="20"/>
                      <a:pt x="5" y="20"/>
                    </a:cubicBezTo>
                    <a:cubicBezTo>
                      <a:pt x="6" y="19"/>
                      <a:pt x="11" y="14"/>
                      <a:pt x="12" y="14"/>
                    </a:cubicBezTo>
                    <a:cubicBezTo>
                      <a:pt x="12" y="14"/>
                      <a:pt x="12" y="14"/>
                      <a:pt x="13" y="14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8" y="18"/>
                      <a:pt x="19" y="17"/>
                      <a:pt x="20" y="17"/>
                    </a:cubicBezTo>
                    <a:cubicBezTo>
                      <a:pt x="21" y="15"/>
                      <a:pt x="21" y="13"/>
                      <a:pt x="21" y="11"/>
                    </a:cubicBezTo>
                    <a:cubicBezTo>
                      <a:pt x="21" y="10"/>
                      <a:pt x="22" y="10"/>
                      <a:pt x="22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10"/>
                      <a:pt x="31" y="10"/>
                      <a:pt x="31" y="11"/>
                    </a:cubicBezTo>
                    <a:cubicBezTo>
                      <a:pt x="32" y="17"/>
                      <a:pt x="32" y="17"/>
                      <a:pt x="32" y="17"/>
                    </a:cubicBezTo>
                    <a:cubicBezTo>
                      <a:pt x="33" y="17"/>
                      <a:pt x="34" y="18"/>
                      <a:pt x="35" y="18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0" y="14"/>
                      <a:pt x="40" y="14"/>
                      <a:pt x="41" y="14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2" y="15"/>
                      <a:pt x="47" y="20"/>
                      <a:pt x="47" y="21"/>
                    </a:cubicBezTo>
                    <a:cubicBezTo>
                      <a:pt x="47" y="21"/>
                      <a:pt x="47" y="21"/>
                      <a:pt x="47" y="22"/>
                    </a:cubicBezTo>
                    <a:cubicBezTo>
                      <a:pt x="46" y="23"/>
                      <a:pt x="45" y="25"/>
                      <a:pt x="43" y="26"/>
                    </a:cubicBezTo>
                    <a:cubicBezTo>
                      <a:pt x="44" y="27"/>
                      <a:pt x="44" y="28"/>
                      <a:pt x="45" y="30"/>
                    </a:cubicBezTo>
                    <a:cubicBezTo>
                      <a:pt x="51" y="30"/>
                      <a:pt x="51" y="30"/>
                      <a:pt x="51" y="30"/>
                    </a:cubicBezTo>
                    <a:cubicBezTo>
                      <a:pt x="51" y="31"/>
                      <a:pt x="52" y="31"/>
                      <a:pt x="52" y="32"/>
                    </a:cubicBezTo>
                    <a:lnTo>
                      <a:pt x="52" y="39"/>
                    </a:lnTo>
                    <a:close/>
                    <a:moveTo>
                      <a:pt x="26" y="25"/>
                    </a:moveTo>
                    <a:cubicBezTo>
                      <a:pt x="21" y="25"/>
                      <a:pt x="16" y="30"/>
                      <a:pt x="16" y="35"/>
                    </a:cubicBezTo>
                    <a:cubicBezTo>
                      <a:pt x="16" y="41"/>
                      <a:pt x="21" y="46"/>
                      <a:pt x="26" y="46"/>
                    </a:cubicBezTo>
                    <a:cubicBezTo>
                      <a:pt x="32" y="46"/>
                      <a:pt x="36" y="41"/>
                      <a:pt x="36" y="35"/>
                    </a:cubicBezTo>
                    <a:cubicBezTo>
                      <a:pt x="36" y="30"/>
                      <a:pt x="32" y="25"/>
                      <a:pt x="26" y="25"/>
                    </a:cubicBezTo>
                    <a:close/>
                    <a:moveTo>
                      <a:pt x="78" y="18"/>
                    </a:moveTo>
                    <a:cubicBezTo>
                      <a:pt x="78" y="18"/>
                      <a:pt x="72" y="19"/>
                      <a:pt x="72" y="19"/>
                    </a:cubicBezTo>
                    <a:cubicBezTo>
                      <a:pt x="71" y="20"/>
                      <a:pt x="71" y="20"/>
                      <a:pt x="70" y="21"/>
                    </a:cubicBezTo>
                    <a:cubicBezTo>
                      <a:pt x="71" y="22"/>
                      <a:pt x="72" y="26"/>
                      <a:pt x="72" y="26"/>
                    </a:cubicBezTo>
                    <a:cubicBezTo>
                      <a:pt x="72" y="27"/>
                      <a:pt x="72" y="27"/>
                      <a:pt x="72" y="27"/>
                    </a:cubicBezTo>
                    <a:cubicBezTo>
                      <a:pt x="72" y="27"/>
                      <a:pt x="68" y="30"/>
                      <a:pt x="67" y="30"/>
                    </a:cubicBezTo>
                    <a:cubicBezTo>
                      <a:pt x="67" y="30"/>
                      <a:pt x="64" y="26"/>
                      <a:pt x="63" y="25"/>
                    </a:cubicBezTo>
                    <a:cubicBezTo>
                      <a:pt x="63" y="25"/>
                      <a:pt x="63" y="25"/>
                      <a:pt x="62" y="25"/>
                    </a:cubicBezTo>
                    <a:cubicBezTo>
                      <a:pt x="62" y="25"/>
                      <a:pt x="61" y="25"/>
                      <a:pt x="61" y="25"/>
                    </a:cubicBezTo>
                    <a:cubicBezTo>
                      <a:pt x="61" y="26"/>
                      <a:pt x="58" y="30"/>
                      <a:pt x="57" y="30"/>
                    </a:cubicBezTo>
                    <a:cubicBezTo>
                      <a:pt x="57" y="30"/>
                      <a:pt x="53" y="27"/>
                      <a:pt x="52" y="27"/>
                    </a:cubicBezTo>
                    <a:cubicBezTo>
                      <a:pt x="52" y="27"/>
                      <a:pt x="52" y="27"/>
                      <a:pt x="52" y="26"/>
                    </a:cubicBezTo>
                    <a:cubicBezTo>
                      <a:pt x="52" y="26"/>
                      <a:pt x="54" y="22"/>
                      <a:pt x="54" y="21"/>
                    </a:cubicBezTo>
                    <a:cubicBezTo>
                      <a:pt x="53" y="20"/>
                      <a:pt x="53" y="20"/>
                      <a:pt x="53" y="19"/>
                    </a:cubicBezTo>
                    <a:cubicBezTo>
                      <a:pt x="52" y="19"/>
                      <a:pt x="47" y="18"/>
                      <a:pt x="47" y="1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1"/>
                      <a:pt x="52" y="11"/>
                      <a:pt x="53" y="11"/>
                    </a:cubicBezTo>
                    <a:cubicBezTo>
                      <a:pt x="53" y="10"/>
                      <a:pt x="53" y="9"/>
                      <a:pt x="54" y="9"/>
                    </a:cubicBezTo>
                    <a:cubicBezTo>
                      <a:pt x="54" y="8"/>
                      <a:pt x="52" y="4"/>
                      <a:pt x="52" y="3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3" y="3"/>
                      <a:pt x="57" y="0"/>
                      <a:pt x="57" y="0"/>
                    </a:cubicBezTo>
                    <a:cubicBezTo>
                      <a:pt x="58" y="0"/>
                      <a:pt x="61" y="4"/>
                      <a:pt x="61" y="5"/>
                    </a:cubicBezTo>
                    <a:cubicBezTo>
                      <a:pt x="61" y="4"/>
                      <a:pt x="62" y="4"/>
                      <a:pt x="62" y="4"/>
                    </a:cubicBezTo>
                    <a:cubicBezTo>
                      <a:pt x="63" y="4"/>
                      <a:pt x="63" y="4"/>
                      <a:pt x="63" y="5"/>
                    </a:cubicBezTo>
                    <a:cubicBezTo>
                      <a:pt x="64" y="3"/>
                      <a:pt x="66" y="1"/>
                      <a:pt x="67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8" y="0"/>
                      <a:pt x="72" y="2"/>
                      <a:pt x="72" y="3"/>
                    </a:cubicBezTo>
                    <a:cubicBezTo>
                      <a:pt x="72" y="3"/>
                      <a:pt x="72" y="3"/>
                      <a:pt x="72" y="3"/>
                    </a:cubicBezTo>
                    <a:cubicBezTo>
                      <a:pt x="72" y="4"/>
                      <a:pt x="71" y="8"/>
                      <a:pt x="70" y="9"/>
                    </a:cubicBezTo>
                    <a:cubicBezTo>
                      <a:pt x="71" y="9"/>
                      <a:pt x="71" y="10"/>
                      <a:pt x="72" y="11"/>
                    </a:cubicBezTo>
                    <a:cubicBezTo>
                      <a:pt x="72" y="11"/>
                      <a:pt x="78" y="11"/>
                      <a:pt x="78" y="12"/>
                    </a:cubicBezTo>
                    <a:lnTo>
                      <a:pt x="78" y="18"/>
                    </a:lnTo>
                    <a:close/>
                    <a:moveTo>
                      <a:pt x="78" y="59"/>
                    </a:moveTo>
                    <a:cubicBezTo>
                      <a:pt x="78" y="59"/>
                      <a:pt x="72" y="60"/>
                      <a:pt x="72" y="60"/>
                    </a:cubicBezTo>
                    <a:cubicBezTo>
                      <a:pt x="71" y="61"/>
                      <a:pt x="71" y="61"/>
                      <a:pt x="70" y="62"/>
                    </a:cubicBezTo>
                    <a:cubicBezTo>
                      <a:pt x="71" y="63"/>
                      <a:pt x="72" y="67"/>
                      <a:pt x="72" y="68"/>
                    </a:cubicBezTo>
                    <a:cubicBezTo>
                      <a:pt x="72" y="68"/>
                      <a:pt x="72" y="68"/>
                      <a:pt x="72" y="68"/>
                    </a:cubicBezTo>
                    <a:cubicBezTo>
                      <a:pt x="72" y="68"/>
                      <a:pt x="68" y="71"/>
                      <a:pt x="67" y="71"/>
                    </a:cubicBezTo>
                    <a:cubicBezTo>
                      <a:pt x="67" y="71"/>
                      <a:pt x="64" y="67"/>
                      <a:pt x="63" y="66"/>
                    </a:cubicBezTo>
                    <a:cubicBezTo>
                      <a:pt x="63" y="66"/>
                      <a:pt x="63" y="66"/>
                      <a:pt x="62" y="66"/>
                    </a:cubicBezTo>
                    <a:cubicBezTo>
                      <a:pt x="62" y="66"/>
                      <a:pt x="61" y="66"/>
                      <a:pt x="61" y="66"/>
                    </a:cubicBezTo>
                    <a:cubicBezTo>
                      <a:pt x="61" y="67"/>
                      <a:pt x="58" y="71"/>
                      <a:pt x="57" y="71"/>
                    </a:cubicBezTo>
                    <a:cubicBezTo>
                      <a:pt x="57" y="71"/>
                      <a:pt x="53" y="68"/>
                      <a:pt x="5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2" y="67"/>
                      <a:pt x="54" y="63"/>
                      <a:pt x="54" y="62"/>
                    </a:cubicBezTo>
                    <a:cubicBezTo>
                      <a:pt x="53" y="61"/>
                      <a:pt x="53" y="61"/>
                      <a:pt x="53" y="60"/>
                    </a:cubicBezTo>
                    <a:cubicBezTo>
                      <a:pt x="52" y="60"/>
                      <a:pt x="47" y="59"/>
                      <a:pt x="47" y="59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2"/>
                      <a:pt x="52" y="52"/>
                      <a:pt x="53" y="52"/>
                    </a:cubicBezTo>
                    <a:cubicBezTo>
                      <a:pt x="53" y="51"/>
                      <a:pt x="53" y="50"/>
                      <a:pt x="54" y="50"/>
                    </a:cubicBezTo>
                    <a:cubicBezTo>
                      <a:pt x="54" y="49"/>
                      <a:pt x="52" y="45"/>
                      <a:pt x="52" y="44"/>
                    </a:cubicBezTo>
                    <a:cubicBezTo>
                      <a:pt x="52" y="44"/>
                      <a:pt x="52" y="44"/>
                      <a:pt x="52" y="44"/>
                    </a:cubicBezTo>
                    <a:cubicBezTo>
                      <a:pt x="53" y="44"/>
                      <a:pt x="57" y="41"/>
                      <a:pt x="57" y="41"/>
                    </a:cubicBezTo>
                    <a:cubicBezTo>
                      <a:pt x="58" y="41"/>
                      <a:pt x="61" y="45"/>
                      <a:pt x="61" y="46"/>
                    </a:cubicBezTo>
                    <a:cubicBezTo>
                      <a:pt x="61" y="46"/>
                      <a:pt x="62" y="46"/>
                      <a:pt x="62" y="46"/>
                    </a:cubicBezTo>
                    <a:cubicBezTo>
                      <a:pt x="63" y="46"/>
                      <a:pt x="63" y="46"/>
                      <a:pt x="63" y="46"/>
                    </a:cubicBezTo>
                    <a:cubicBezTo>
                      <a:pt x="64" y="44"/>
                      <a:pt x="66" y="43"/>
                      <a:pt x="67" y="41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8" y="41"/>
                      <a:pt x="72" y="44"/>
                      <a:pt x="72" y="44"/>
                    </a:cubicBezTo>
                    <a:cubicBezTo>
                      <a:pt x="72" y="44"/>
                      <a:pt x="72" y="44"/>
                      <a:pt x="72" y="44"/>
                    </a:cubicBezTo>
                    <a:cubicBezTo>
                      <a:pt x="72" y="45"/>
                      <a:pt x="71" y="49"/>
                      <a:pt x="70" y="50"/>
                    </a:cubicBezTo>
                    <a:cubicBezTo>
                      <a:pt x="71" y="50"/>
                      <a:pt x="71" y="51"/>
                      <a:pt x="72" y="52"/>
                    </a:cubicBezTo>
                    <a:cubicBezTo>
                      <a:pt x="72" y="52"/>
                      <a:pt x="78" y="52"/>
                      <a:pt x="78" y="53"/>
                    </a:cubicBezTo>
                    <a:lnTo>
                      <a:pt x="78" y="59"/>
                    </a:lnTo>
                    <a:close/>
                    <a:moveTo>
                      <a:pt x="62" y="10"/>
                    </a:moveTo>
                    <a:cubicBezTo>
                      <a:pt x="59" y="10"/>
                      <a:pt x="57" y="12"/>
                      <a:pt x="57" y="15"/>
                    </a:cubicBezTo>
                    <a:cubicBezTo>
                      <a:pt x="57" y="18"/>
                      <a:pt x="59" y="20"/>
                      <a:pt x="62" y="20"/>
                    </a:cubicBezTo>
                    <a:cubicBezTo>
                      <a:pt x="65" y="20"/>
                      <a:pt x="67" y="18"/>
                      <a:pt x="67" y="15"/>
                    </a:cubicBezTo>
                    <a:cubicBezTo>
                      <a:pt x="67" y="12"/>
                      <a:pt x="65" y="10"/>
                      <a:pt x="62" y="10"/>
                    </a:cubicBezTo>
                    <a:close/>
                    <a:moveTo>
                      <a:pt x="62" y="51"/>
                    </a:moveTo>
                    <a:cubicBezTo>
                      <a:pt x="59" y="51"/>
                      <a:pt x="57" y="53"/>
                      <a:pt x="57" y="56"/>
                    </a:cubicBezTo>
                    <a:cubicBezTo>
                      <a:pt x="57" y="59"/>
                      <a:pt x="59" y="61"/>
                      <a:pt x="62" y="61"/>
                    </a:cubicBezTo>
                    <a:cubicBezTo>
                      <a:pt x="65" y="61"/>
                      <a:pt x="67" y="59"/>
                      <a:pt x="67" y="56"/>
                    </a:cubicBezTo>
                    <a:cubicBezTo>
                      <a:pt x="67" y="53"/>
                      <a:pt x="65" y="51"/>
                      <a:pt x="62" y="51"/>
                    </a:cubicBezTo>
                    <a:close/>
                  </a:path>
                </a:pathLst>
              </a:custGeom>
              <a:solidFill>
                <a:srgbClr val="C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1" name="išlídé"/>
              <p:cNvSpPr/>
              <p:nvPr/>
            </p:nvSpPr>
            <p:spPr bwMode="auto">
              <a:xfrm>
                <a:off x="6343075" y="2156666"/>
                <a:ext cx="436053" cy="442658"/>
              </a:xfrm>
              <a:custGeom>
                <a:avLst/>
                <a:gdLst/>
                <a:ahLst/>
                <a:cxnLst>
                  <a:cxn ang="0">
                    <a:pos x="61" y="49"/>
                  </a:cxn>
                  <a:cxn ang="0">
                    <a:pos x="49" y="62"/>
                  </a:cxn>
                  <a:cxn ang="0">
                    <a:pos x="36" y="49"/>
                  </a:cxn>
                  <a:cxn ang="0">
                    <a:pos x="36" y="48"/>
                  </a:cxn>
                  <a:cxn ang="0">
                    <a:pos x="21" y="41"/>
                  </a:cxn>
                  <a:cxn ang="0">
                    <a:pos x="13" y="44"/>
                  </a:cxn>
                  <a:cxn ang="0">
                    <a:pos x="0" y="31"/>
                  </a:cxn>
                  <a:cxn ang="0">
                    <a:pos x="13" y="18"/>
                  </a:cxn>
                  <a:cxn ang="0">
                    <a:pos x="21" y="22"/>
                  </a:cxn>
                  <a:cxn ang="0">
                    <a:pos x="36" y="15"/>
                  </a:cxn>
                  <a:cxn ang="0">
                    <a:pos x="36" y="13"/>
                  </a:cxn>
                  <a:cxn ang="0">
                    <a:pos x="49" y="0"/>
                  </a:cxn>
                  <a:cxn ang="0">
                    <a:pos x="61" y="13"/>
                  </a:cxn>
                  <a:cxn ang="0">
                    <a:pos x="49" y="26"/>
                  </a:cxn>
                  <a:cxn ang="0">
                    <a:pos x="40" y="23"/>
                  </a:cxn>
                  <a:cxn ang="0">
                    <a:pos x="25" y="30"/>
                  </a:cxn>
                  <a:cxn ang="0">
                    <a:pos x="25" y="31"/>
                  </a:cxn>
                  <a:cxn ang="0">
                    <a:pos x="25" y="33"/>
                  </a:cxn>
                  <a:cxn ang="0">
                    <a:pos x="40" y="40"/>
                  </a:cxn>
                  <a:cxn ang="0">
                    <a:pos x="49" y="36"/>
                  </a:cxn>
                  <a:cxn ang="0">
                    <a:pos x="61" y="49"/>
                  </a:cxn>
                </a:cxnLst>
                <a:rect l="0" t="0" r="r" b="b"/>
                <a:pathLst>
                  <a:path w="61" h="62">
                    <a:moveTo>
                      <a:pt x="61" y="49"/>
                    </a:moveTo>
                    <a:cubicBezTo>
                      <a:pt x="61" y="56"/>
                      <a:pt x="56" y="62"/>
                      <a:pt x="49" y="62"/>
                    </a:cubicBezTo>
                    <a:cubicBezTo>
                      <a:pt x="41" y="62"/>
                      <a:pt x="36" y="56"/>
                      <a:pt x="36" y="49"/>
                    </a:cubicBezTo>
                    <a:cubicBezTo>
                      <a:pt x="36" y="49"/>
                      <a:pt x="36" y="48"/>
                      <a:pt x="36" y="48"/>
                    </a:cubicBezTo>
                    <a:cubicBezTo>
                      <a:pt x="21" y="41"/>
                      <a:pt x="21" y="41"/>
                      <a:pt x="21" y="41"/>
                    </a:cubicBezTo>
                    <a:cubicBezTo>
                      <a:pt x="19" y="43"/>
                      <a:pt x="16" y="44"/>
                      <a:pt x="13" y="44"/>
                    </a:cubicBezTo>
                    <a:cubicBezTo>
                      <a:pt x="6" y="44"/>
                      <a:pt x="0" y="38"/>
                      <a:pt x="0" y="31"/>
                    </a:cubicBezTo>
                    <a:cubicBezTo>
                      <a:pt x="0" y="24"/>
                      <a:pt x="6" y="18"/>
                      <a:pt x="13" y="18"/>
                    </a:cubicBezTo>
                    <a:cubicBezTo>
                      <a:pt x="16" y="18"/>
                      <a:pt x="19" y="20"/>
                      <a:pt x="21" y="22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6" y="14"/>
                      <a:pt x="36" y="14"/>
                      <a:pt x="36" y="13"/>
                    </a:cubicBezTo>
                    <a:cubicBezTo>
                      <a:pt x="36" y="6"/>
                      <a:pt x="41" y="0"/>
                      <a:pt x="49" y="0"/>
                    </a:cubicBezTo>
                    <a:cubicBezTo>
                      <a:pt x="56" y="0"/>
                      <a:pt x="61" y="6"/>
                      <a:pt x="61" y="13"/>
                    </a:cubicBezTo>
                    <a:cubicBezTo>
                      <a:pt x="61" y="20"/>
                      <a:pt x="56" y="26"/>
                      <a:pt x="49" y="26"/>
                    </a:cubicBezTo>
                    <a:cubicBezTo>
                      <a:pt x="45" y="26"/>
                      <a:pt x="42" y="25"/>
                      <a:pt x="40" y="23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30"/>
                      <a:pt x="25" y="31"/>
                      <a:pt x="25" y="31"/>
                    </a:cubicBezTo>
                    <a:cubicBezTo>
                      <a:pt x="25" y="32"/>
                      <a:pt x="25" y="32"/>
                      <a:pt x="25" y="33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2" y="38"/>
                      <a:pt x="45" y="36"/>
                      <a:pt x="49" y="36"/>
                    </a:cubicBezTo>
                    <a:cubicBezTo>
                      <a:pt x="56" y="36"/>
                      <a:pt x="61" y="42"/>
                      <a:pt x="61" y="49"/>
                    </a:cubicBezTo>
                    <a:close/>
                  </a:path>
                </a:pathLst>
              </a:custGeom>
              <a:solidFill>
                <a:srgbClr val="C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2" name="iśľîde"/>
              <p:cNvSpPr/>
              <p:nvPr/>
            </p:nvSpPr>
            <p:spPr bwMode="auto">
              <a:xfrm>
                <a:off x="7114218" y="3883293"/>
                <a:ext cx="521943" cy="488906"/>
              </a:xfrm>
              <a:custGeom>
                <a:avLst/>
                <a:gdLst/>
                <a:ahLst/>
                <a:cxnLst>
                  <a:cxn ang="0">
                    <a:pos x="13" y="39"/>
                  </a:cxn>
                  <a:cxn ang="0">
                    <a:pos x="8" y="39"/>
                  </a:cxn>
                  <a:cxn ang="0">
                    <a:pos x="0" y="33"/>
                  </a:cxn>
                  <a:cxn ang="0">
                    <a:pos x="5" y="19"/>
                  </a:cxn>
                  <a:cxn ang="0">
                    <a:pos x="15" y="22"/>
                  </a:cxn>
                  <a:cxn ang="0">
                    <a:pos x="20" y="21"/>
                  </a:cxn>
                  <a:cxn ang="0">
                    <a:pos x="20" y="24"/>
                  </a:cxn>
                  <a:cxn ang="0">
                    <a:pos x="23" y="34"/>
                  </a:cxn>
                  <a:cxn ang="0">
                    <a:pos x="13" y="39"/>
                  </a:cxn>
                  <a:cxn ang="0">
                    <a:pos x="15" y="19"/>
                  </a:cxn>
                  <a:cxn ang="0">
                    <a:pos x="5" y="9"/>
                  </a:cxn>
                  <a:cxn ang="0">
                    <a:pos x="15" y="0"/>
                  </a:cxn>
                  <a:cxn ang="0">
                    <a:pos x="25" y="9"/>
                  </a:cxn>
                  <a:cxn ang="0">
                    <a:pos x="15" y="19"/>
                  </a:cxn>
                  <a:cxn ang="0">
                    <a:pos x="53" y="68"/>
                  </a:cxn>
                  <a:cxn ang="0">
                    <a:pos x="20" y="68"/>
                  </a:cxn>
                  <a:cxn ang="0">
                    <a:pos x="10" y="58"/>
                  </a:cxn>
                  <a:cxn ang="0">
                    <a:pos x="23" y="36"/>
                  </a:cxn>
                  <a:cxn ang="0">
                    <a:pos x="37" y="41"/>
                  </a:cxn>
                  <a:cxn ang="0">
                    <a:pos x="50" y="36"/>
                  </a:cxn>
                  <a:cxn ang="0">
                    <a:pos x="64" y="58"/>
                  </a:cxn>
                  <a:cxn ang="0">
                    <a:pos x="53" y="68"/>
                  </a:cxn>
                  <a:cxn ang="0">
                    <a:pos x="37" y="39"/>
                  </a:cxn>
                  <a:cxn ang="0">
                    <a:pos x="22" y="24"/>
                  </a:cxn>
                  <a:cxn ang="0">
                    <a:pos x="37" y="9"/>
                  </a:cxn>
                  <a:cxn ang="0">
                    <a:pos x="51" y="24"/>
                  </a:cxn>
                  <a:cxn ang="0">
                    <a:pos x="37" y="39"/>
                  </a:cxn>
                  <a:cxn ang="0">
                    <a:pos x="59" y="19"/>
                  </a:cxn>
                  <a:cxn ang="0">
                    <a:pos x="49" y="9"/>
                  </a:cxn>
                  <a:cxn ang="0">
                    <a:pos x="59" y="0"/>
                  </a:cxn>
                  <a:cxn ang="0">
                    <a:pos x="68" y="9"/>
                  </a:cxn>
                  <a:cxn ang="0">
                    <a:pos x="59" y="19"/>
                  </a:cxn>
                  <a:cxn ang="0">
                    <a:pos x="66" y="39"/>
                  </a:cxn>
                  <a:cxn ang="0">
                    <a:pos x="61" y="39"/>
                  </a:cxn>
                  <a:cxn ang="0">
                    <a:pos x="51" y="34"/>
                  </a:cxn>
                  <a:cxn ang="0">
                    <a:pos x="54" y="24"/>
                  </a:cxn>
                  <a:cxn ang="0">
                    <a:pos x="54" y="21"/>
                  </a:cxn>
                  <a:cxn ang="0">
                    <a:pos x="59" y="22"/>
                  </a:cxn>
                  <a:cxn ang="0">
                    <a:pos x="69" y="19"/>
                  </a:cxn>
                  <a:cxn ang="0">
                    <a:pos x="73" y="33"/>
                  </a:cxn>
                  <a:cxn ang="0">
                    <a:pos x="66" y="39"/>
                  </a:cxn>
                </a:cxnLst>
                <a:rect l="0" t="0" r="r" b="b"/>
                <a:pathLst>
                  <a:path w="73" h="68">
                    <a:moveTo>
                      <a:pt x="13" y="39"/>
                    </a:moveTo>
                    <a:cubicBezTo>
                      <a:pt x="8" y="39"/>
                      <a:pt x="8" y="39"/>
                      <a:pt x="8" y="39"/>
                    </a:cubicBezTo>
                    <a:cubicBezTo>
                      <a:pt x="4" y="39"/>
                      <a:pt x="0" y="37"/>
                      <a:pt x="0" y="33"/>
                    </a:cubicBezTo>
                    <a:cubicBezTo>
                      <a:pt x="0" y="29"/>
                      <a:pt x="0" y="19"/>
                      <a:pt x="5" y="19"/>
                    </a:cubicBezTo>
                    <a:cubicBezTo>
                      <a:pt x="6" y="19"/>
                      <a:pt x="10" y="22"/>
                      <a:pt x="15" y="22"/>
                    </a:cubicBezTo>
                    <a:cubicBezTo>
                      <a:pt x="17" y="22"/>
                      <a:pt x="18" y="22"/>
                      <a:pt x="20" y="21"/>
                    </a:cubicBezTo>
                    <a:cubicBezTo>
                      <a:pt x="20" y="22"/>
                      <a:pt x="20" y="23"/>
                      <a:pt x="20" y="24"/>
                    </a:cubicBezTo>
                    <a:cubicBezTo>
                      <a:pt x="20" y="27"/>
                      <a:pt x="21" y="31"/>
                      <a:pt x="23" y="34"/>
                    </a:cubicBezTo>
                    <a:cubicBezTo>
                      <a:pt x="19" y="34"/>
                      <a:pt x="15" y="36"/>
                      <a:pt x="13" y="39"/>
                    </a:cubicBezTo>
                    <a:close/>
                    <a:moveTo>
                      <a:pt x="15" y="19"/>
                    </a:moveTo>
                    <a:cubicBezTo>
                      <a:pt x="10" y="19"/>
                      <a:pt x="5" y="15"/>
                      <a:pt x="5" y="9"/>
                    </a:cubicBezTo>
                    <a:cubicBezTo>
                      <a:pt x="5" y="4"/>
                      <a:pt x="10" y="0"/>
                      <a:pt x="15" y="0"/>
                    </a:cubicBezTo>
                    <a:cubicBezTo>
                      <a:pt x="20" y="0"/>
                      <a:pt x="25" y="4"/>
                      <a:pt x="25" y="9"/>
                    </a:cubicBezTo>
                    <a:cubicBezTo>
                      <a:pt x="25" y="15"/>
                      <a:pt x="20" y="19"/>
                      <a:pt x="15" y="19"/>
                    </a:cubicBezTo>
                    <a:close/>
                    <a:moveTo>
                      <a:pt x="53" y="68"/>
                    </a:moveTo>
                    <a:cubicBezTo>
                      <a:pt x="20" y="68"/>
                      <a:pt x="20" y="68"/>
                      <a:pt x="20" y="68"/>
                    </a:cubicBezTo>
                    <a:cubicBezTo>
                      <a:pt x="14" y="68"/>
                      <a:pt x="10" y="64"/>
                      <a:pt x="10" y="58"/>
                    </a:cubicBezTo>
                    <a:cubicBezTo>
                      <a:pt x="10" y="49"/>
                      <a:pt x="12" y="36"/>
                      <a:pt x="23" y="36"/>
                    </a:cubicBezTo>
                    <a:cubicBezTo>
                      <a:pt x="25" y="36"/>
                      <a:pt x="29" y="41"/>
                      <a:pt x="37" y="41"/>
                    </a:cubicBezTo>
                    <a:cubicBezTo>
                      <a:pt x="44" y="41"/>
                      <a:pt x="49" y="36"/>
                      <a:pt x="50" y="36"/>
                    </a:cubicBezTo>
                    <a:cubicBezTo>
                      <a:pt x="62" y="36"/>
                      <a:pt x="64" y="49"/>
                      <a:pt x="64" y="58"/>
                    </a:cubicBezTo>
                    <a:cubicBezTo>
                      <a:pt x="64" y="64"/>
                      <a:pt x="60" y="68"/>
                      <a:pt x="53" y="68"/>
                    </a:cubicBezTo>
                    <a:close/>
                    <a:moveTo>
                      <a:pt x="37" y="39"/>
                    </a:moveTo>
                    <a:cubicBezTo>
                      <a:pt x="29" y="39"/>
                      <a:pt x="22" y="32"/>
                      <a:pt x="22" y="24"/>
                    </a:cubicBezTo>
                    <a:cubicBezTo>
                      <a:pt x="22" y="16"/>
                      <a:pt x="29" y="9"/>
                      <a:pt x="37" y="9"/>
                    </a:cubicBezTo>
                    <a:cubicBezTo>
                      <a:pt x="45" y="9"/>
                      <a:pt x="51" y="16"/>
                      <a:pt x="51" y="24"/>
                    </a:cubicBezTo>
                    <a:cubicBezTo>
                      <a:pt x="51" y="32"/>
                      <a:pt x="45" y="39"/>
                      <a:pt x="37" y="39"/>
                    </a:cubicBezTo>
                    <a:close/>
                    <a:moveTo>
                      <a:pt x="59" y="19"/>
                    </a:moveTo>
                    <a:cubicBezTo>
                      <a:pt x="53" y="19"/>
                      <a:pt x="49" y="15"/>
                      <a:pt x="49" y="9"/>
                    </a:cubicBezTo>
                    <a:cubicBezTo>
                      <a:pt x="49" y="4"/>
                      <a:pt x="53" y="0"/>
                      <a:pt x="59" y="0"/>
                    </a:cubicBezTo>
                    <a:cubicBezTo>
                      <a:pt x="64" y="0"/>
                      <a:pt x="68" y="4"/>
                      <a:pt x="68" y="9"/>
                    </a:cubicBezTo>
                    <a:cubicBezTo>
                      <a:pt x="68" y="15"/>
                      <a:pt x="64" y="19"/>
                      <a:pt x="59" y="19"/>
                    </a:cubicBezTo>
                    <a:close/>
                    <a:moveTo>
                      <a:pt x="66" y="39"/>
                    </a:moveTo>
                    <a:cubicBezTo>
                      <a:pt x="61" y="39"/>
                      <a:pt x="61" y="39"/>
                      <a:pt x="61" y="39"/>
                    </a:cubicBezTo>
                    <a:cubicBezTo>
                      <a:pt x="58" y="36"/>
                      <a:pt x="55" y="34"/>
                      <a:pt x="51" y="34"/>
                    </a:cubicBezTo>
                    <a:cubicBezTo>
                      <a:pt x="53" y="31"/>
                      <a:pt x="54" y="27"/>
                      <a:pt x="54" y="24"/>
                    </a:cubicBezTo>
                    <a:cubicBezTo>
                      <a:pt x="54" y="23"/>
                      <a:pt x="54" y="22"/>
                      <a:pt x="54" y="21"/>
                    </a:cubicBezTo>
                    <a:cubicBezTo>
                      <a:pt x="55" y="22"/>
                      <a:pt x="57" y="22"/>
                      <a:pt x="59" y="22"/>
                    </a:cubicBezTo>
                    <a:cubicBezTo>
                      <a:pt x="64" y="22"/>
                      <a:pt x="68" y="19"/>
                      <a:pt x="69" y="19"/>
                    </a:cubicBezTo>
                    <a:cubicBezTo>
                      <a:pt x="73" y="19"/>
                      <a:pt x="73" y="29"/>
                      <a:pt x="73" y="33"/>
                    </a:cubicBezTo>
                    <a:cubicBezTo>
                      <a:pt x="73" y="37"/>
                      <a:pt x="70" y="39"/>
                      <a:pt x="66" y="39"/>
                    </a:cubicBezTo>
                    <a:close/>
                  </a:path>
                </a:pathLst>
              </a:custGeom>
              <a:solidFill>
                <a:srgbClr val="C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3" name="ï$liḑè"/>
              <p:cNvSpPr/>
              <p:nvPr/>
            </p:nvSpPr>
            <p:spPr bwMode="auto">
              <a:xfrm>
                <a:off x="5442623" y="4753706"/>
                <a:ext cx="422839" cy="459177"/>
              </a:xfrm>
              <a:custGeom>
                <a:avLst/>
                <a:gdLst/>
                <a:ahLst/>
                <a:cxnLst>
                  <a:cxn ang="0">
                    <a:pos x="55" y="64"/>
                  </a:cxn>
                  <a:cxn ang="0">
                    <a:pos x="0" y="59"/>
                  </a:cxn>
                  <a:cxn ang="0">
                    <a:pos x="4" y="9"/>
                  </a:cxn>
                  <a:cxn ang="0">
                    <a:pos x="9" y="5"/>
                  </a:cxn>
                  <a:cxn ang="0">
                    <a:pos x="17" y="0"/>
                  </a:cxn>
                  <a:cxn ang="0">
                    <a:pos x="23" y="9"/>
                  </a:cxn>
                  <a:cxn ang="0">
                    <a:pos x="36" y="5"/>
                  </a:cxn>
                  <a:cxn ang="0">
                    <a:pos x="44" y="0"/>
                  </a:cxn>
                  <a:cxn ang="0">
                    <a:pos x="50" y="9"/>
                  </a:cxn>
                  <a:cxn ang="0">
                    <a:pos x="59" y="13"/>
                  </a:cxn>
                  <a:cxn ang="0">
                    <a:pos x="15" y="33"/>
                  </a:cxn>
                  <a:cxn ang="0">
                    <a:pos x="4" y="23"/>
                  </a:cxn>
                  <a:cxn ang="0">
                    <a:pos x="15" y="33"/>
                  </a:cxn>
                  <a:cxn ang="0">
                    <a:pos x="15" y="35"/>
                  </a:cxn>
                  <a:cxn ang="0">
                    <a:pos x="4" y="47"/>
                  </a:cxn>
                  <a:cxn ang="0">
                    <a:pos x="15" y="59"/>
                  </a:cxn>
                  <a:cxn ang="0">
                    <a:pos x="4" y="49"/>
                  </a:cxn>
                  <a:cxn ang="0">
                    <a:pos x="15" y="59"/>
                  </a:cxn>
                  <a:cxn ang="0">
                    <a:pos x="17" y="4"/>
                  </a:cxn>
                  <a:cxn ang="0">
                    <a:pos x="13" y="5"/>
                  </a:cxn>
                  <a:cxn ang="0">
                    <a:pos x="15" y="17"/>
                  </a:cxn>
                  <a:cxn ang="0">
                    <a:pos x="18" y="16"/>
                  </a:cxn>
                  <a:cxn ang="0">
                    <a:pos x="28" y="33"/>
                  </a:cxn>
                  <a:cxn ang="0">
                    <a:pos x="17" y="23"/>
                  </a:cxn>
                  <a:cxn ang="0">
                    <a:pos x="28" y="33"/>
                  </a:cxn>
                  <a:cxn ang="0">
                    <a:pos x="28" y="35"/>
                  </a:cxn>
                  <a:cxn ang="0">
                    <a:pos x="17" y="47"/>
                  </a:cxn>
                  <a:cxn ang="0">
                    <a:pos x="28" y="59"/>
                  </a:cxn>
                  <a:cxn ang="0">
                    <a:pos x="17" y="49"/>
                  </a:cxn>
                  <a:cxn ang="0">
                    <a:pos x="28" y="59"/>
                  </a:cxn>
                  <a:cxn ang="0">
                    <a:pos x="42" y="23"/>
                  </a:cxn>
                  <a:cxn ang="0">
                    <a:pos x="31" y="33"/>
                  </a:cxn>
                  <a:cxn ang="0">
                    <a:pos x="42" y="47"/>
                  </a:cxn>
                  <a:cxn ang="0">
                    <a:pos x="31" y="35"/>
                  </a:cxn>
                  <a:cxn ang="0">
                    <a:pos x="42" y="47"/>
                  </a:cxn>
                  <a:cxn ang="0">
                    <a:pos x="42" y="49"/>
                  </a:cxn>
                  <a:cxn ang="0">
                    <a:pos x="31" y="59"/>
                  </a:cxn>
                  <a:cxn ang="0">
                    <a:pos x="45" y="5"/>
                  </a:cxn>
                  <a:cxn ang="0">
                    <a:pos x="42" y="4"/>
                  </a:cxn>
                  <a:cxn ang="0">
                    <a:pos x="41" y="16"/>
                  </a:cxn>
                  <a:cxn ang="0">
                    <a:pos x="44" y="17"/>
                  </a:cxn>
                  <a:cxn ang="0">
                    <a:pos x="45" y="5"/>
                  </a:cxn>
                  <a:cxn ang="0">
                    <a:pos x="55" y="23"/>
                  </a:cxn>
                  <a:cxn ang="0">
                    <a:pos x="44" y="33"/>
                  </a:cxn>
                  <a:cxn ang="0">
                    <a:pos x="55" y="47"/>
                  </a:cxn>
                  <a:cxn ang="0">
                    <a:pos x="44" y="35"/>
                  </a:cxn>
                  <a:cxn ang="0">
                    <a:pos x="55" y="47"/>
                  </a:cxn>
                  <a:cxn ang="0">
                    <a:pos x="55" y="49"/>
                  </a:cxn>
                  <a:cxn ang="0">
                    <a:pos x="44" y="59"/>
                  </a:cxn>
                </a:cxnLst>
                <a:rect l="0" t="0" r="r" b="b"/>
                <a:pathLst>
                  <a:path w="59" h="64">
                    <a:moveTo>
                      <a:pt x="59" y="59"/>
                    </a:moveTo>
                    <a:cubicBezTo>
                      <a:pt x="59" y="62"/>
                      <a:pt x="57" y="64"/>
                      <a:pt x="55" y="64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2" y="64"/>
                      <a:pt x="0" y="62"/>
                      <a:pt x="0" y="5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1"/>
                      <a:pt x="2" y="9"/>
                      <a:pt x="4" y="9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2"/>
                      <a:pt x="11" y="0"/>
                      <a:pt x="1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20" y="0"/>
                      <a:pt x="23" y="2"/>
                      <a:pt x="23" y="5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36" y="2"/>
                      <a:pt x="39" y="0"/>
                      <a:pt x="42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7" y="0"/>
                      <a:pt x="50" y="2"/>
                      <a:pt x="50" y="5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7" y="9"/>
                      <a:pt x="59" y="11"/>
                      <a:pt x="59" y="13"/>
                    </a:cubicBezTo>
                    <a:lnTo>
                      <a:pt x="59" y="59"/>
                    </a:lnTo>
                    <a:close/>
                    <a:moveTo>
                      <a:pt x="15" y="33"/>
                    </a:moveTo>
                    <a:cubicBezTo>
                      <a:pt x="15" y="23"/>
                      <a:pt x="15" y="23"/>
                      <a:pt x="15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4" y="33"/>
                      <a:pt x="4" y="33"/>
                      <a:pt x="4" y="33"/>
                    </a:cubicBezTo>
                    <a:lnTo>
                      <a:pt x="15" y="33"/>
                    </a:lnTo>
                    <a:close/>
                    <a:moveTo>
                      <a:pt x="15" y="47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4" y="47"/>
                      <a:pt x="4" y="47"/>
                      <a:pt x="4" y="47"/>
                    </a:cubicBezTo>
                    <a:lnTo>
                      <a:pt x="15" y="47"/>
                    </a:lnTo>
                    <a:close/>
                    <a:moveTo>
                      <a:pt x="15" y="59"/>
                    </a:moveTo>
                    <a:cubicBezTo>
                      <a:pt x="15" y="49"/>
                      <a:pt x="15" y="49"/>
                      <a:pt x="15" y="49"/>
                    </a:cubicBezTo>
                    <a:cubicBezTo>
                      <a:pt x="4" y="49"/>
                      <a:pt x="4" y="49"/>
                      <a:pt x="4" y="49"/>
                    </a:cubicBezTo>
                    <a:cubicBezTo>
                      <a:pt x="4" y="59"/>
                      <a:pt x="4" y="59"/>
                      <a:pt x="4" y="59"/>
                    </a:cubicBezTo>
                    <a:lnTo>
                      <a:pt x="15" y="59"/>
                    </a:lnTo>
                    <a:close/>
                    <a:moveTo>
                      <a:pt x="18" y="5"/>
                    </a:moveTo>
                    <a:cubicBezTo>
                      <a:pt x="18" y="5"/>
                      <a:pt x="18" y="4"/>
                      <a:pt x="17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4"/>
                      <a:pt x="13" y="5"/>
                      <a:pt x="13" y="5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16"/>
                      <a:pt x="14" y="17"/>
                      <a:pt x="15" y="17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8" y="17"/>
                      <a:pt x="18" y="16"/>
                      <a:pt x="18" y="16"/>
                    </a:cubicBezTo>
                    <a:lnTo>
                      <a:pt x="18" y="5"/>
                    </a:lnTo>
                    <a:close/>
                    <a:moveTo>
                      <a:pt x="28" y="33"/>
                    </a:moveTo>
                    <a:cubicBezTo>
                      <a:pt x="28" y="23"/>
                      <a:pt x="28" y="23"/>
                      <a:pt x="28" y="23"/>
                    </a:cubicBezTo>
                    <a:cubicBezTo>
                      <a:pt x="17" y="23"/>
                      <a:pt x="17" y="23"/>
                      <a:pt x="17" y="23"/>
                    </a:cubicBezTo>
                    <a:cubicBezTo>
                      <a:pt x="17" y="33"/>
                      <a:pt x="17" y="33"/>
                      <a:pt x="17" y="33"/>
                    </a:cubicBezTo>
                    <a:lnTo>
                      <a:pt x="28" y="33"/>
                    </a:lnTo>
                    <a:close/>
                    <a:moveTo>
                      <a:pt x="28" y="47"/>
                    </a:moveTo>
                    <a:cubicBezTo>
                      <a:pt x="28" y="35"/>
                      <a:pt x="28" y="35"/>
                      <a:pt x="28" y="35"/>
                    </a:cubicBezTo>
                    <a:cubicBezTo>
                      <a:pt x="17" y="35"/>
                      <a:pt x="17" y="35"/>
                      <a:pt x="17" y="35"/>
                    </a:cubicBezTo>
                    <a:cubicBezTo>
                      <a:pt x="17" y="47"/>
                      <a:pt x="17" y="47"/>
                      <a:pt x="17" y="47"/>
                    </a:cubicBezTo>
                    <a:lnTo>
                      <a:pt x="28" y="47"/>
                    </a:lnTo>
                    <a:close/>
                    <a:moveTo>
                      <a:pt x="28" y="59"/>
                    </a:moveTo>
                    <a:cubicBezTo>
                      <a:pt x="28" y="49"/>
                      <a:pt x="28" y="49"/>
                      <a:pt x="28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17" y="59"/>
                      <a:pt x="17" y="59"/>
                      <a:pt x="17" y="59"/>
                    </a:cubicBezTo>
                    <a:lnTo>
                      <a:pt x="28" y="59"/>
                    </a:lnTo>
                    <a:close/>
                    <a:moveTo>
                      <a:pt x="42" y="33"/>
                    </a:moveTo>
                    <a:cubicBezTo>
                      <a:pt x="42" y="23"/>
                      <a:pt x="42" y="23"/>
                      <a:pt x="42" y="23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33"/>
                      <a:pt x="31" y="33"/>
                      <a:pt x="31" y="33"/>
                    </a:cubicBezTo>
                    <a:lnTo>
                      <a:pt x="42" y="33"/>
                    </a:lnTo>
                    <a:close/>
                    <a:moveTo>
                      <a:pt x="42" y="47"/>
                    </a:moveTo>
                    <a:cubicBezTo>
                      <a:pt x="42" y="35"/>
                      <a:pt x="42" y="35"/>
                      <a:pt x="42" y="35"/>
                    </a:cubicBezTo>
                    <a:cubicBezTo>
                      <a:pt x="31" y="35"/>
                      <a:pt x="31" y="35"/>
                      <a:pt x="31" y="35"/>
                    </a:cubicBezTo>
                    <a:cubicBezTo>
                      <a:pt x="31" y="47"/>
                      <a:pt x="31" y="47"/>
                      <a:pt x="31" y="47"/>
                    </a:cubicBezTo>
                    <a:lnTo>
                      <a:pt x="42" y="47"/>
                    </a:lnTo>
                    <a:close/>
                    <a:moveTo>
                      <a:pt x="42" y="59"/>
                    </a:moveTo>
                    <a:cubicBezTo>
                      <a:pt x="42" y="49"/>
                      <a:pt x="42" y="49"/>
                      <a:pt x="42" y="49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1" y="59"/>
                      <a:pt x="31" y="59"/>
                      <a:pt x="31" y="59"/>
                    </a:cubicBezTo>
                    <a:lnTo>
                      <a:pt x="42" y="59"/>
                    </a:lnTo>
                    <a:close/>
                    <a:moveTo>
                      <a:pt x="45" y="5"/>
                    </a:moveTo>
                    <a:cubicBezTo>
                      <a:pt x="45" y="5"/>
                      <a:pt x="45" y="4"/>
                      <a:pt x="44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1" y="4"/>
                      <a:pt x="41" y="5"/>
                      <a:pt x="41" y="5"/>
                    </a:cubicBezTo>
                    <a:cubicBezTo>
                      <a:pt x="41" y="16"/>
                      <a:pt x="41" y="16"/>
                      <a:pt x="41" y="16"/>
                    </a:cubicBezTo>
                    <a:cubicBezTo>
                      <a:pt x="41" y="16"/>
                      <a:pt x="41" y="17"/>
                      <a:pt x="42" y="17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5" y="17"/>
                      <a:pt x="45" y="16"/>
                      <a:pt x="45" y="16"/>
                    </a:cubicBezTo>
                    <a:lnTo>
                      <a:pt x="45" y="5"/>
                    </a:lnTo>
                    <a:close/>
                    <a:moveTo>
                      <a:pt x="55" y="33"/>
                    </a:moveTo>
                    <a:cubicBezTo>
                      <a:pt x="55" y="23"/>
                      <a:pt x="55" y="23"/>
                      <a:pt x="55" y="23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4" y="33"/>
                      <a:pt x="44" y="33"/>
                      <a:pt x="44" y="33"/>
                    </a:cubicBezTo>
                    <a:lnTo>
                      <a:pt x="55" y="33"/>
                    </a:lnTo>
                    <a:close/>
                    <a:moveTo>
                      <a:pt x="55" y="47"/>
                    </a:moveTo>
                    <a:cubicBezTo>
                      <a:pt x="55" y="35"/>
                      <a:pt x="55" y="35"/>
                      <a:pt x="55" y="35"/>
                    </a:cubicBezTo>
                    <a:cubicBezTo>
                      <a:pt x="44" y="35"/>
                      <a:pt x="44" y="35"/>
                      <a:pt x="44" y="35"/>
                    </a:cubicBezTo>
                    <a:cubicBezTo>
                      <a:pt x="44" y="47"/>
                      <a:pt x="44" y="47"/>
                      <a:pt x="44" y="47"/>
                    </a:cubicBezTo>
                    <a:lnTo>
                      <a:pt x="55" y="47"/>
                    </a:lnTo>
                    <a:close/>
                    <a:moveTo>
                      <a:pt x="55" y="59"/>
                    </a:moveTo>
                    <a:cubicBezTo>
                      <a:pt x="55" y="49"/>
                      <a:pt x="55" y="49"/>
                      <a:pt x="55" y="49"/>
                    </a:cubicBezTo>
                    <a:cubicBezTo>
                      <a:pt x="44" y="49"/>
                      <a:pt x="44" y="49"/>
                      <a:pt x="44" y="49"/>
                    </a:cubicBezTo>
                    <a:cubicBezTo>
                      <a:pt x="44" y="59"/>
                      <a:pt x="44" y="59"/>
                      <a:pt x="44" y="59"/>
                    </a:cubicBezTo>
                    <a:lnTo>
                      <a:pt x="55" y="59"/>
                    </a:lnTo>
                    <a:close/>
                  </a:path>
                </a:pathLst>
              </a:custGeom>
              <a:solidFill>
                <a:srgbClr val="C00000"/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endParaRPr lang="en-US" sz="1520" dirty="0">
                  <a:ea typeface="阿里巴巴普惠体" panose="00020600040101010101" pitchFamily="18" charset="-122"/>
                </a:endParaRPr>
              </a:p>
            </p:txBody>
          </p:sp>
        </p:grpSp>
      </p:grpSp>
      <p:sp>
        <p:nvSpPr>
          <p:cNvPr id="24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2552669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429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834194"/>
            <a:ext cx="10850563" cy="4233630"/>
            <a:chOff x="669925" y="1834194"/>
            <a:chExt cx="10850563" cy="4233630"/>
          </a:xfrm>
        </p:grpSpPr>
        <p:grpSp>
          <p:nvGrpSpPr>
            <p:cNvPr id="6" name="îŝľïdè"/>
            <p:cNvGrpSpPr/>
            <p:nvPr/>
          </p:nvGrpSpPr>
          <p:grpSpPr>
            <a:xfrm>
              <a:off x="4390780" y="1834194"/>
              <a:ext cx="3410441" cy="3608712"/>
              <a:chOff x="4390780" y="1834194"/>
              <a:chExt cx="3410441" cy="3608712"/>
            </a:xfrm>
          </p:grpSpPr>
          <p:sp>
            <p:nvSpPr>
              <p:cNvPr id="19" name="ïsḻíḋè"/>
              <p:cNvSpPr/>
              <p:nvPr/>
            </p:nvSpPr>
            <p:spPr>
              <a:xfrm>
                <a:off x="5782952" y="2328931"/>
                <a:ext cx="1506804" cy="1506804"/>
              </a:xfrm>
              <a:prstGeom prst="roundRect">
                <a:avLst/>
              </a:prstGeom>
              <a:solidFill>
                <a:srgbClr val="C0000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dirty="0">
                    <a:ea typeface="阿里巴巴普惠体" panose="00020600040101010101" pitchFamily="18" charset="-122"/>
                  </a:rPr>
                  <a:t>Text</a:t>
                </a:r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0" name="í$ľïḍe"/>
              <p:cNvSpPr/>
              <p:nvPr/>
            </p:nvSpPr>
            <p:spPr>
              <a:xfrm>
                <a:off x="4899204" y="3091312"/>
                <a:ext cx="1265229" cy="1265229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dirty="0">
                    <a:ea typeface="阿里巴巴普惠体" panose="00020600040101010101" pitchFamily="18" charset="-122"/>
                  </a:rPr>
                  <a:t>Text</a:t>
                </a:r>
              </a:p>
            </p:txBody>
          </p:sp>
          <p:sp>
            <p:nvSpPr>
              <p:cNvPr id="21" name="îṡļidè"/>
              <p:cNvSpPr/>
              <p:nvPr/>
            </p:nvSpPr>
            <p:spPr>
              <a:xfrm>
                <a:off x="7306484" y="1834194"/>
                <a:ext cx="494737" cy="494737"/>
              </a:xfrm>
              <a:prstGeom prst="roundRect">
                <a:avLst/>
              </a:prstGeom>
              <a:solidFill>
                <a:srgbClr val="C0000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dirty="0">
                    <a:ea typeface="阿里巴巴普惠体" panose="00020600040101010101" pitchFamily="18" charset="-122"/>
                  </a:rPr>
                  <a:t>01</a:t>
                </a:r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2" name="iṧļiḍè"/>
              <p:cNvSpPr/>
              <p:nvPr/>
            </p:nvSpPr>
            <p:spPr>
              <a:xfrm>
                <a:off x="4390780" y="2609694"/>
                <a:ext cx="494737" cy="494737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dirty="0">
                    <a:ea typeface="阿里巴巴普惠体" panose="00020600040101010101" pitchFamily="18" charset="-122"/>
                  </a:rPr>
                  <a:t>02</a:t>
                </a:r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3" name="íśḷïdé"/>
              <p:cNvSpPr/>
              <p:nvPr/>
            </p:nvSpPr>
            <p:spPr>
              <a:xfrm>
                <a:off x="7099160" y="2176859"/>
                <a:ext cx="345201" cy="358381"/>
              </a:xfrm>
              <a:custGeom>
                <a:avLst/>
                <a:gdLst>
                  <a:gd name="connsiteX0" fmla="*/ 323406 w 540544"/>
                  <a:gd name="connsiteY0" fmla="*/ 0 h 561182"/>
                  <a:gd name="connsiteX1" fmla="*/ 540544 w 540544"/>
                  <a:gd name="connsiteY1" fmla="*/ 0 h 561182"/>
                  <a:gd name="connsiteX2" fmla="*/ 540544 w 540544"/>
                  <a:gd name="connsiteY2" fmla="*/ 239285 h 561182"/>
                  <a:gd name="connsiteX3" fmla="*/ 529037 w 540544"/>
                  <a:gd name="connsiteY3" fmla="*/ 238125 h 561182"/>
                  <a:gd name="connsiteX4" fmla="*/ 279402 w 540544"/>
                  <a:gd name="connsiteY4" fmla="*/ 487760 h 561182"/>
                  <a:gd name="connsiteX5" fmla="*/ 284474 w 540544"/>
                  <a:gd name="connsiteY5" fmla="*/ 538070 h 561182"/>
                  <a:gd name="connsiteX6" fmla="*/ 291649 w 540544"/>
                  <a:gd name="connsiteY6" fmla="*/ 561182 h 561182"/>
                  <a:gd name="connsiteX7" fmla="*/ 0 w 540544"/>
                  <a:gd name="connsiteY7" fmla="*/ 561182 h 561182"/>
                  <a:gd name="connsiteX8" fmla="*/ 0 w 540544"/>
                  <a:gd name="connsiteY8" fmla="*/ 249200 h 561182"/>
                  <a:gd name="connsiteX9" fmla="*/ 24701 w 540544"/>
                  <a:gd name="connsiteY9" fmla="*/ 256868 h 561182"/>
                  <a:gd name="connsiteX10" fmla="*/ 75011 w 540544"/>
                  <a:gd name="connsiteY10" fmla="*/ 261940 h 561182"/>
                  <a:gd name="connsiteX11" fmla="*/ 324646 w 540544"/>
                  <a:gd name="connsiteY11" fmla="*/ 12305 h 561182"/>
                  <a:gd name="connsiteX12" fmla="*/ 323406 w 540544"/>
                  <a:gd name="connsiteY12" fmla="*/ 0 h 56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0544" h="561182">
                    <a:moveTo>
                      <a:pt x="323406" y="0"/>
                    </a:moveTo>
                    <a:lnTo>
                      <a:pt x="540544" y="0"/>
                    </a:lnTo>
                    <a:lnTo>
                      <a:pt x="540544" y="239285"/>
                    </a:lnTo>
                    <a:lnTo>
                      <a:pt x="529037" y="238125"/>
                    </a:lnTo>
                    <a:cubicBezTo>
                      <a:pt x="391167" y="238125"/>
                      <a:pt x="279402" y="349890"/>
                      <a:pt x="279402" y="487760"/>
                    </a:cubicBezTo>
                    <a:cubicBezTo>
                      <a:pt x="279402" y="504994"/>
                      <a:pt x="281149" y="521820"/>
                      <a:pt x="284474" y="538070"/>
                    </a:cubicBezTo>
                    <a:lnTo>
                      <a:pt x="291649" y="561182"/>
                    </a:lnTo>
                    <a:lnTo>
                      <a:pt x="0" y="561182"/>
                    </a:lnTo>
                    <a:lnTo>
                      <a:pt x="0" y="249200"/>
                    </a:lnTo>
                    <a:lnTo>
                      <a:pt x="24701" y="256868"/>
                    </a:lnTo>
                    <a:cubicBezTo>
                      <a:pt x="40952" y="260194"/>
                      <a:pt x="57777" y="261940"/>
                      <a:pt x="75011" y="261940"/>
                    </a:cubicBezTo>
                    <a:cubicBezTo>
                      <a:pt x="212881" y="261940"/>
                      <a:pt x="324646" y="150175"/>
                      <a:pt x="324646" y="12305"/>
                    </a:cubicBezTo>
                    <a:lnTo>
                      <a:pt x="323406" y="0"/>
                    </a:lnTo>
                    <a:close/>
                  </a:path>
                </a:pathLst>
              </a:custGeom>
              <a:solidFill>
                <a:srgbClr val="C0000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4" name="íṧľiḍê"/>
              <p:cNvSpPr/>
              <p:nvPr/>
            </p:nvSpPr>
            <p:spPr>
              <a:xfrm>
                <a:off x="6219178" y="3882443"/>
                <a:ext cx="1070579" cy="1070578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dirty="0">
                    <a:ea typeface="阿里巴巴普惠体" panose="00020600040101010101" pitchFamily="18" charset="-122"/>
                  </a:rPr>
                  <a:t>Text</a:t>
                </a:r>
              </a:p>
            </p:txBody>
          </p:sp>
          <p:sp>
            <p:nvSpPr>
              <p:cNvPr id="25" name="íşļíḋe"/>
              <p:cNvSpPr/>
              <p:nvPr/>
            </p:nvSpPr>
            <p:spPr>
              <a:xfrm>
                <a:off x="5716331" y="4940059"/>
                <a:ext cx="502847" cy="502847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dirty="0">
                    <a:ea typeface="阿里巴巴普惠体" panose="00020600040101010101" pitchFamily="18" charset="-122"/>
                  </a:rPr>
                  <a:t>03</a:t>
                </a:r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6" name="íṥḷîdê"/>
              <p:cNvSpPr/>
              <p:nvPr/>
            </p:nvSpPr>
            <p:spPr>
              <a:xfrm flipH="1" flipV="1">
                <a:off x="6144664" y="4828974"/>
                <a:ext cx="186794" cy="193925"/>
              </a:xfrm>
              <a:custGeom>
                <a:avLst/>
                <a:gdLst>
                  <a:gd name="connsiteX0" fmla="*/ 323406 w 540544"/>
                  <a:gd name="connsiteY0" fmla="*/ 0 h 561182"/>
                  <a:gd name="connsiteX1" fmla="*/ 540544 w 540544"/>
                  <a:gd name="connsiteY1" fmla="*/ 0 h 561182"/>
                  <a:gd name="connsiteX2" fmla="*/ 540544 w 540544"/>
                  <a:gd name="connsiteY2" fmla="*/ 239285 h 561182"/>
                  <a:gd name="connsiteX3" fmla="*/ 529037 w 540544"/>
                  <a:gd name="connsiteY3" fmla="*/ 238125 h 561182"/>
                  <a:gd name="connsiteX4" fmla="*/ 279402 w 540544"/>
                  <a:gd name="connsiteY4" fmla="*/ 487760 h 561182"/>
                  <a:gd name="connsiteX5" fmla="*/ 284474 w 540544"/>
                  <a:gd name="connsiteY5" fmla="*/ 538070 h 561182"/>
                  <a:gd name="connsiteX6" fmla="*/ 291649 w 540544"/>
                  <a:gd name="connsiteY6" fmla="*/ 561182 h 561182"/>
                  <a:gd name="connsiteX7" fmla="*/ 0 w 540544"/>
                  <a:gd name="connsiteY7" fmla="*/ 561182 h 561182"/>
                  <a:gd name="connsiteX8" fmla="*/ 0 w 540544"/>
                  <a:gd name="connsiteY8" fmla="*/ 249200 h 561182"/>
                  <a:gd name="connsiteX9" fmla="*/ 24701 w 540544"/>
                  <a:gd name="connsiteY9" fmla="*/ 256868 h 561182"/>
                  <a:gd name="connsiteX10" fmla="*/ 75011 w 540544"/>
                  <a:gd name="connsiteY10" fmla="*/ 261940 h 561182"/>
                  <a:gd name="connsiteX11" fmla="*/ 324646 w 540544"/>
                  <a:gd name="connsiteY11" fmla="*/ 12305 h 561182"/>
                  <a:gd name="connsiteX12" fmla="*/ 323406 w 540544"/>
                  <a:gd name="connsiteY12" fmla="*/ 0 h 56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0544" h="561182">
                    <a:moveTo>
                      <a:pt x="323406" y="0"/>
                    </a:moveTo>
                    <a:lnTo>
                      <a:pt x="540544" y="0"/>
                    </a:lnTo>
                    <a:lnTo>
                      <a:pt x="540544" y="239285"/>
                    </a:lnTo>
                    <a:lnTo>
                      <a:pt x="529037" y="238125"/>
                    </a:lnTo>
                    <a:cubicBezTo>
                      <a:pt x="391167" y="238125"/>
                      <a:pt x="279402" y="349890"/>
                      <a:pt x="279402" y="487760"/>
                    </a:cubicBezTo>
                    <a:cubicBezTo>
                      <a:pt x="279402" y="504994"/>
                      <a:pt x="281149" y="521820"/>
                      <a:pt x="284474" y="538070"/>
                    </a:cubicBezTo>
                    <a:lnTo>
                      <a:pt x="291649" y="561182"/>
                    </a:lnTo>
                    <a:lnTo>
                      <a:pt x="0" y="561182"/>
                    </a:lnTo>
                    <a:lnTo>
                      <a:pt x="0" y="249200"/>
                    </a:lnTo>
                    <a:lnTo>
                      <a:pt x="24701" y="256868"/>
                    </a:lnTo>
                    <a:cubicBezTo>
                      <a:pt x="40952" y="260194"/>
                      <a:pt x="57777" y="261940"/>
                      <a:pt x="75011" y="261940"/>
                    </a:cubicBezTo>
                    <a:cubicBezTo>
                      <a:pt x="212881" y="261940"/>
                      <a:pt x="324646" y="150175"/>
                      <a:pt x="324646" y="12305"/>
                    </a:cubicBezTo>
                    <a:lnTo>
                      <a:pt x="323406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7" name="ïś1iďe"/>
              <p:cNvSpPr/>
              <p:nvPr/>
            </p:nvSpPr>
            <p:spPr>
              <a:xfrm flipH="1">
                <a:off x="4781475" y="2984419"/>
                <a:ext cx="262829" cy="272864"/>
              </a:xfrm>
              <a:custGeom>
                <a:avLst/>
                <a:gdLst>
                  <a:gd name="connsiteX0" fmla="*/ 323406 w 540544"/>
                  <a:gd name="connsiteY0" fmla="*/ 0 h 561182"/>
                  <a:gd name="connsiteX1" fmla="*/ 540544 w 540544"/>
                  <a:gd name="connsiteY1" fmla="*/ 0 h 561182"/>
                  <a:gd name="connsiteX2" fmla="*/ 540544 w 540544"/>
                  <a:gd name="connsiteY2" fmla="*/ 239285 h 561182"/>
                  <a:gd name="connsiteX3" fmla="*/ 529037 w 540544"/>
                  <a:gd name="connsiteY3" fmla="*/ 238125 h 561182"/>
                  <a:gd name="connsiteX4" fmla="*/ 279402 w 540544"/>
                  <a:gd name="connsiteY4" fmla="*/ 487760 h 561182"/>
                  <a:gd name="connsiteX5" fmla="*/ 284474 w 540544"/>
                  <a:gd name="connsiteY5" fmla="*/ 538070 h 561182"/>
                  <a:gd name="connsiteX6" fmla="*/ 291649 w 540544"/>
                  <a:gd name="connsiteY6" fmla="*/ 561182 h 561182"/>
                  <a:gd name="connsiteX7" fmla="*/ 0 w 540544"/>
                  <a:gd name="connsiteY7" fmla="*/ 561182 h 561182"/>
                  <a:gd name="connsiteX8" fmla="*/ 0 w 540544"/>
                  <a:gd name="connsiteY8" fmla="*/ 249200 h 561182"/>
                  <a:gd name="connsiteX9" fmla="*/ 24701 w 540544"/>
                  <a:gd name="connsiteY9" fmla="*/ 256868 h 561182"/>
                  <a:gd name="connsiteX10" fmla="*/ 75011 w 540544"/>
                  <a:gd name="connsiteY10" fmla="*/ 261940 h 561182"/>
                  <a:gd name="connsiteX11" fmla="*/ 324646 w 540544"/>
                  <a:gd name="connsiteY11" fmla="*/ 12305 h 561182"/>
                  <a:gd name="connsiteX12" fmla="*/ 323406 w 540544"/>
                  <a:gd name="connsiteY12" fmla="*/ 0 h 56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0544" h="561182">
                    <a:moveTo>
                      <a:pt x="323406" y="0"/>
                    </a:moveTo>
                    <a:lnTo>
                      <a:pt x="540544" y="0"/>
                    </a:lnTo>
                    <a:lnTo>
                      <a:pt x="540544" y="239285"/>
                    </a:lnTo>
                    <a:lnTo>
                      <a:pt x="529037" y="238125"/>
                    </a:lnTo>
                    <a:cubicBezTo>
                      <a:pt x="391167" y="238125"/>
                      <a:pt x="279402" y="349890"/>
                      <a:pt x="279402" y="487760"/>
                    </a:cubicBezTo>
                    <a:cubicBezTo>
                      <a:pt x="279402" y="504994"/>
                      <a:pt x="281149" y="521820"/>
                      <a:pt x="284474" y="538070"/>
                    </a:cubicBezTo>
                    <a:lnTo>
                      <a:pt x="291649" y="561182"/>
                    </a:lnTo>
                    <a:lnTo>
                      <a:pt x="0" y="561182"/>
                    </a:lnTo>
                    <a:lnTo>
                      <a:pt x="0" y="249200"/>
                    </a:lnTo>
                    <a:lnTo>
                      <a:pt x="24701" y="256868"/>
                    </a:lnTo>
                    <a:cubicBezTo>
                      <a:pt x="40952" y="260194"/>
                      <a:pt x="57777" y="261940"/>
                      <a:pt x="75011" y="261940"/>
                    </a:cubicBezTo>
                    <a:cubicBezTo>
                      <a:pt x="212881" y="261940"/>
                      <a:pt x="324646" y="150175"/>
                      <a:pt x="324646" y="12305"/>
                    </a:cubicBezTo>
                    <a:lnTo>
                      <a:pt x="32340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</p:grpSp>
        <p:sp>
          <p:nvSpPr>
            <p:cNvPr id="7" name="išḷîde" title="WSpneox6o6"/>
            <p:cNvSpPr/>
            <p:nvPr/>
          </p:nvSpPr>
          <p:spPr bwMode="auto">
            <a:xfrm>
              <a:off x="11203900" y="1976567"/>
              <a:ext cx="315000" cy="361102"/>
            </a:xfrm>
            <a:custGeom>
              <a:avLst/>
              <a:gdLst>
                <a:gd name="connsiteX0" fmla="*/ 95356 w 293583"/>
                <a:gd name="connsiteY0" fmla="*/ 263525 h 336550"/>
                <a:gd name="connsiteX1" fmla="*/ 89006 w 293583"/>
                <a:gd name="connsiteY1" fmla="*/ 266065 h 336550"/>
                <a:gd name="connsiteX2" fmla="*/ 85196 w 293583"/>
                <a:gd name="connsiteY2" fmla="*/ 271145 h 336550"/>
                <a:gd name="connsiteX3" fmla="*/ 86466 w 293583"/>
                <a:gd name="connsiteY3" fmla="*/ 277495 h 336550"/>
                <a:gd name="connsiteX4" fmla="*/ 86466 w 293583"/>
                <a:gd name="connsiteY4" fmla="*/ 278765 h 336550"/>
                <a:gd name="connsiteX5" fmla="*/ 94086 w 293583"/>
                <a:gd name="connsiteY5" fmla="*/ 282575 h 336550"/>
                <a:gd name="connsiteX6" fmla="*/ 97896 w 293583"/>
                <a:gd name="connsiteY6" fmla="*/ 281305 h 336550"/>
                <a:gd name="connsiteX7" fmla="*/ 104246 w 293583"/>
                <a:gd name="connsiteY7" fmla="*/ 278765 h 336550"/>
                <a:gd name="connsiteX8" fmla="*/ 95356 w 293583"/>
                <a:gd name="connsiteY8" fmla="*/ 263525 h 336550"/>
                <a:gd name="connsiteX9" fmla="*/ 194734 w 293583"/>
                <a:gd name="connsiteY9" fmla="*/ 241300 h 336550"/>
                <a:gd name="connsiteX10" fmla="*/ 123296 w 293583"/>
                <a:gd name="connsiteY10" fmla="*/ 278628 h 336550"/>
                <a:gd name="connsiteX11" fmla="*/ 127265 w 293583"/>
                <a:gd name="connsiteY11" fmla="*/ 285064 h 336550"/>
                <a:gd name="connsiteX12" fmla="*/ 135202 w 293583"/>
                <a:gd name="connsiteY12" fmla="*/ 288925 h 336550"/>
                <a:gd name="connsiteX13" fmla="*/ 139171 w 293583"/>
                <a:gd name="connsiteY13" fmla="*/ 287638 h 336550"/>
                <a:gd name="connsiteX14" fmla="*/ 202671 w 293583"/>
                <a:gd name="connsiteY14" fmla="*/ 254172 h 336550"/>
                <a:gd name="connsiteX15" fmla="*/ 194734 w 293583"/>
                <a:gd name="connsiteY15" fmla="*/ 241300 h 336550"/>
                <a:gd name="connsiteX16" fmla="*/ 77894 w 293583"/>
                <a:gd name="connsiteY16" fmla="*/ 230187 h 336550"/>
                <a:gd name="connsiteX17" fmla="*/ 71544 w 293583"/>
                <a:gd name="connsiteY17" fmla="*/ 234156 h 336550"/>
                <a:gd name="connsiteX18" fmla="*/ 66464 w 293583"/>
                <a:gd name="connsiteY18" fmla="*/ 236802 h 336550"/>
                <a:gd name="connsiteX19" fmla="*/ 62654 w 293583"/>
                <a:gd name="connsiteY19" fmla="*/ 248708 h 336550"/>
                <a:gd name="connsiteX20" fmla="*/ 63924 w 293583"/>
                <a:gd name="connsiteY20" fmla="*/ 250031 h 336550"/>
                <a:gd name="connsiteX21" fmla="*/ 71544 w 293583"/>
                <a:gd name="connsiteY21" fmla="*/ 254000 h 336550"/>
                <a:gd name="connsiteX22" fmla="*/ 75354 w 293583"/>
                <a:gd name="connsiteY22" fmla="*/ 254000 h 336550"/>
                <a:gd name="connsiteX23" fmla="*/ 80434 w 293583"/>
                <a:gd name="connsiteY23" fmla="*/ 250031 h 336550"/>
                <a:gd name="connsiteX24" fmla="*/ 86784 w 293583"/>
                <a:gd name="connsiteY24" fmla="*/ 247385 h 336550"/>
                <a:gd name="connsiteX25" fmla="*/ 77894 w 293583"/>
                <a:gd name="connsiteY25" fmla="*/ 230187 h 336550"/>
                <a:gd name="connsiteX26" fmla="*/ 61067 w 293583"/>
                <a:gd name="connsiteY26" fmla="*/ 198437 h 336550"/>
                <a:gd name="connsiteX27" fmla="*/ 54187 w 293583"/>
                <a:gd name="connsiteY27" fmla="*/ 202604 h 336550"/>
                <a:gd name="connsiteX28" fmla="*/ 50060 w 293583"/>
                <a:gd name="connsiteY28" fmla="*/ 206771 h 336550"/>
                <a:gd name="connsiteX29" fmla="*/ 51436 w 293583"/>
                <a:gd name="connsiteY29" fmla="*/ 215106 h 336550"/>
                <a:gd name="connsiteX30" fmla="*/ 59691 w 293583"/>
                <a:gd name="connsiteY30" fmla="*/ 220662 h 336550"/>
                <a:gd name="connsiteX31" fmla="*/ 63818 w 293583"/>
                <a:gd name="connsiteY31" fmla="*/ 219273 h 336550"/>
                <a:gd name="connsiteX32" fmla="*/ 69322 w 293583"/>
                <a:gd name="connsiteY32" fmla="*/ 216495 h 336550"/>
                <a:gd name="connsiteX33" fmla="*/ 61067 w 293583"/>
                <a:gd name="connsiteY33" fmla="*/ 198437 h 336550"/>
                <a:gd name="connsiteX34" fmla="*/ 141011 w 293583"/>
                <a:gd name="connsiteY34" fmla="*/ 42862 h 336550"/>
                <a:gd name="connsiteX35" fmla="*/ 29634 w 293583"/>
                <a:gd name="connsiteY35" fmla="*/ 103643 h 336550"/>
                <a:gd name="connsiteX36" fmla="*/ 116115 w 293583"/>
                <a:gd name="connsiteY36" fmla="*/ 263525 h 336550"/>
                <a:gd name="connsiteX37" fmla="*/ 190803 w 293583"/>
                <a:gd name="connsiteY37" fmla="*/ 222564 h 336550"/>
                <a:gd name="connsiteX38" fmla="*/ 193424 w 293583"/>
                <a:gd name="connsiteY38" fmla="*/ 198780 h 336550"/>
                <a:gd name="connsiteX39" fmla="*/ 193424 w 293583"/>
                <a:gd name="connsiteY39" fmla="*/ 197458 h 336550"/>
                <a:gd name="connsiteX40" fmla="*/ 194734 w 293583"/>
                <a:gd name="connsiteY40" fmla="*/ 189530 h 336550"/>
                <a:gd name="connsiteX41" fmla="*/ 185562 w 293583"/>
                <a:gd name="connsiteY41" fmla="*/ 186888 h 336550"/>
                <a:gd name="connsiteX42" fmla="*/ 152804 w 293583"/>
                <a:gd name="connsiteY42" fmla="*/ 167068 h 336550"/>
                <a:gd name="connsiteX43" fmla="*/ 177700 w 293583"/>
                <a:gd name="connsiteY43" fmla="*/ 130070 h 336550"/>
                <a:gd name="connsiteX44" fmla="*/ 185562 w 293583"/>
                <a:gd name="connsiteY44" fmla="*/ 126106 h 336550"/>
                <a:gd name="connsiteX45" fmla="*/ 141011 w 293583"/>
                <a:gd name="connsiteY45" fmla="*/ 42862 h 336550"/>
                <a:gd name="connsiteX46" fmla="*/ 120699 w 293583"/>
                <a:gd name="connsiteY46" fmla="*/ 17462 h 336550"/>
                <a:gd name="connsiteX47" fmla="*/ 116748 w 293583"/>
                <a:gd name="connsiteY47" fmla="*/ 18785 h 336550"/>
                <a:gd name="connsiteX48" fmla="*/ 20614 w 293583"/>
                <a:gd name="connsiteY48" fmla="*/ 70379 h 336550"/>
                <a:gd name="connsiteX49" fmla="*/ 16663 w 293583"/>
                <a:gd name="connsiteY49" fmla="*/ 75671 h 336550"/>
                <a:gd name="connsiteX50" fmla="*/ 16663 w 293583"/>
                <a:gd name="connsiteY50" fmla="*/ 82285 h 336550"/>
                <a:gd name="connsiteX51" fmla="*/ 20614 w 293583"/>
                <a:gd name="connsiteY51" fmla="*/ 88900 h 336550"/>
                <a:gd name="connsiteX52" fmla="*/ 131234 w 293583"/>
                <a:gd name="connsiteY52" fmla="*/ 29368 h 336550"/>
                <a:gd name="connsiteX53" fmla="*/ 128600 w 293583"/>
                <a:gd name="connsiteY53" fmla="*/ 22754 h 336550"/>
                <a:gd name="connsiteX54" fmla="*/ 120699 w 293583"/>
                <a:gd name="connsiteY54" fmla="*/ 17462 h 336550"/>
                <a:gd name="connsiteX55" fmla="*/ 192839 w 293583"/>
                <a:gd name="connsiteY55" fmla="*/ 5790 h 336550"/>
                <a:gd name="connsiteX56" fmla="*/ 202058 w 293583"/>
                <a:gd name="connsiteY56" fmla="*/ 13634 h 336550"/>
                <a:gd name="connsiteX57" fmla="*/ 202058 w 293583"/>
                <a:gd name="connsiteY57" fmla="*/ 17556 h 336550"/>
                <a:gd name="connsiteX58" fmla="*/ 275805 w 293583"/>
                <a:gd name="connsiteY58" fmla="*/ 26707 h 336550"/>
                <a:gd name="connsiteX59" fmla="*/ 275805 w 293583"/>
                <a:gd name="connsiteY59" fmla="*/ 111685 h 336550"/>
                <a:gd name="connsiteX60" fmla="*/ 270537 w 293583"/>
                <a:gd name="connsiteY60" fmla="*/ 114300 h 336550"/>
                <a:gd name="connsiteX61" fmla="*/ 263953 w 293583"/>
                <a:gd name="connsiteY61" fmla="*/ 111685 h 336550"/>
                <a:gd name="connsiteX62" fmla="*/ 263953 w 293583"/>
                <a:gd name="connsiteY62" fmla="*/ 99919 h 336550"/>
                <a:gd name="connsiteX63" fmla="*/ 263953 w 293583"/>
                <a:gd name="connsiteY63" fmla="*/ 38474 h 336550"/>
                <a:gd name="connsiteX64" fmla="*/ 233664 w 293583"/>
                <a:gd name="connsiteY64" fmla="*/ 26707 h 336550"/>
                <a:gd name="connsiteX65" fmla="*/ 213910 w 293583"/>
                <a:gd name="connsiteY65" fmla="*/ 30629 h 336550"/>
                <a:gd name="connsiteX66" fmla="*/ 217861 w 293583"/>
                <a:gd name="connsiteY66" fmla="*/ 30629 h 336550"/>
                <a:gd name="connsiteX67" fmla="*/ 227079 w 293583"/>
                <a:gd name="connsiteY67" fmla="*/ 39781 h 336550"/>
                <a:gd name="connsiteX68" fmla="*/ 217861 w 293583"/>
                <a:gd name="connsiteY68" fmla="*/ 48932 h 336550"/>
                <a:gd name="connsiteX69" fmla="*/ 192839 w 293583"/>
                <a:gd name="connsiteY69" fmla="*/ 48932 h 336550"/>
                <a:gd name="connsiteX70" fmla="*/ 183621 w 293583"/>
                <a:gd name="connsiteY70" fmla="*/ 39781 h 336550"/>
                <a:gd name="connsiteX71" fmla="*/ 183621 w 293583"/>
                <a:gd name="connsiteY71" fmla="*/ 13634 h 336550"/>
                <a:gd name="connsiteX72" fmla="*/ 192839 w 293583"/>
                <a:gd name="connsiteY72" fmla="*/ 5790 h 336550"/>
                <a:gd name="connsiteX73" fmla="*/ 121837 w 293583"/>
                <a:gd name="connsiteY73" fmla="*/ 0 h 336550"/>
                <a:gd name="connsiteX74" fmla="*/ 144205 w 293583"/>
                <a:gd name="connsiteY74" fmla="*/ 13146 h 336550"/>
                <a:gd name="connsiteX75" fmla="*/ 203415 w 293583"/>
                <a:gd name="connsiteY75" fmla="*/ 120948 h 336550"/>
                <a:gd name="connsiteX76" fmla="*/ 236309 w 293583"/>
                <a:gd name="connsiteY76" fmla="*/ 123577 h 336550"/>
                <a:gd name="connsiteX77" fmla="*/ 262624 w 293583"/>
                <a:gd name="connsiteY77" fmla="*/ 153814 h 336550"/>
                <a:gd name="connsiteX78" fmla="*/ 265256 w 293583"/>
                <a:gd name="connsiteY78" fmla="*/ 160387 h 336550"/>
                <a:gd name="connsiteX79" fmla="*/ 274466 w 293583"/>
                <a:gd name="connsiteY79" fmla="*/ 281335 h 336550"/>
                <a:gd name="connsiteX80" fmla="*/ 266572 w 293583"/>
                <a:gd name="connsiteY80" fmla="*/ 286593 h 336550"/>
                <a:gd name="connsiteX81" fmla="*/ 262624 w 293583"/>
                <a:gd name="connsiteY81" fmla="*/ 286593 h 336550"/>
                <a:gd name="connsiteX82" fmla="*/ 257361 w 293583"/>
                <a:gd name="connsiteY82" fmla="*/ 274762 h 336550"/>
                <a:gd name="connsiteX83" fmla="*/ 248151 w 293583"/>
                <a:gd name="connsiteY83" fmla="*/ 165646 h 336550"/>
                <a:gd name="connsiteX84" fmla="*/ 246835 w 293583"/>
                <a:gd name="connsiteY84" fmla="*/ 159072 h 336550"/>
                <a:gd name="connsiteX85" fmla="*/ 229730 w 293583"/>
                <a:gd name="connsiteY85" fmla="*/ 139353 h 336550"/>
                <a:gd name="connsiteX86" fmla="*/ 184994 w 293583"/>
                <a:gd name="connsiteY86" fmla="*/ 145926 h 336550"/>
                <a:gd name="connsiteX87" fmla="*/ 170520 w 293583"/>
                <a:gd name="connsiteY87" fmla="*/ 161702 h 336550"/>
                <a:gd name="connsiteX88" fmla="*/ 184994 w 293583"/>
                <a:gd name="connsiteY88" fmla="*/ 169590 h 336550"/>
                <a:gd name="connsiteX89" fmla="*/ 209994 w 293583"/>
                <a:gd name="connsiteY89" fmla="*/ 180107 h 336550"/>
                <a:gd name="connsiteX90" fmla="*/ 211309 w 293583"/>
                <a:gd name="connsiteY90" fmla="*/ 202456 h 336550"/>
                <a:gd name="connsiteX91" fmla="*/ 227099 w 293583"/>
                <a:gd name="connsiteY91" fmla="*/ 251098 h 336550"/>
                <a:gd name="connsiteX92" fmla="*/ 231046 w 293583"/>
                <a:gd name="connsiteY92" fmla="*/ 262930 h 336550"/>
                <a:gd name="connsiteX93" fmla="*/ 219204 w 293583"/>
                <a:gd name="connsiteY93" fmla="*/ 266874 h 336550"/>
                <a:gd name="connsiteX94" fmla="*/ 217888 w 293583"/>
                <a:gd name="connsiteY94" fmla="*/ 265559 h 336550"/>
                <a:gd name="connsiteX95" fmla="*/ 154731 w 293583"/>
                <a:gd name="connsiteY95" fmla="*/ 299740 h 336550"/>
                <a:gd name="connsiteX96" fmla="*/ 175783 w 293583"/>
                <a:gd name="connsiteY96" fmla="*/ 319460 h 336550"/>
                <a:gd name="connsiteX97" fmla="*/ 179731 w 293583"/>
                <a:gd name="connsiteY97" fmla="*/ 331291 h 336550"/>
                <a:gd name="connsiteX98" fmla="*/ 171836 w 293583"/>
                <a:gd name="connsiteY98" fmla="*/ 336550 h 336550"/>
                <a:gd name="connsiteX99" fmla="*/ 167889 w 293583"/>
                <a:gd name="connsiteY99" fmla="*/ 335235 h 336550"/>
                <a:gd name="connsiteX100" fmla="*/ 137626 w 293583"/>
                <a:gd name="connsiteY100" fmla="*/ 306313 h 336550"/>
                <a:gd name="connsiteX101" fmla="*/ 136311 w 293583"/>
                <a:gd name="connsiteY101" fmla="*/ 306313 h 336550"/>
                <a:gd name="connsiteX102" fmla="*/ 112627 w 293583"/>
                <a:gd name="connsiteY102" fmla="*/ 294481 h 336550"/>
                <a:gd name="connsiteX103" fmla="*/ 107364 w 293583"/>
                <a:gd name="connsiteY103" fmla="*/ 297111 h 336550"/>
                <a:gd name="connsiteX104" fmla="*/ 94206 w 293583"/>
                <a:gd name="connsiteY104" fmla="*/ 301055 h 336550"/>
                <a:gd name="connsiteX105" fmla="*/ 70522 w 293583"/>
                <a:gd name="connsiteY105" fmla="*/ 286593 h 336550"/>
                <a:gd name="connsiteX106" fmla="*/ 70522 w 293583"/>
                <a:gd name="connsiteY106" fmla="*/ 285279 h 336550"/>
                <a:gd name="connsiteX107" fmla="*/ 67891 w 293583"/>
                <a:gd name="connsiteY107" fmla="*/ 272132 h 336550"/>
                <a:gd name="connsiteX108" fmla="*/ 48154 w 293583"/>
                <a:gd name="connsiteY108" fmla="*/ 257671 h 336550"/>
                <a:gd name="connsiteX109" fmla="*/ 48154 w 293583"/>
                <a:gd name="connsiteY109" fmla="*/ 256356 h 336550"/>
                <a:gd name="connsiteX110" fmla="*/ 46838 w 293583"/>
                <a:gd name="connsiteY110" fmla="*/ 234007 h 336550"/>
                <a:gd name="connsiteX111" fmla="*/ 36312 w 293583"/>
                <a:gd name="connsiteY111" fmla="*/ 223490 h 336550"/>
                <a:gd name="connsiteX112" fmla="*/ 36312 w 293583"/>
                <a:gd name="connsiteY112" fmla="*/ 222176 h 336550"/>
                <a:gd name="connsiteX113" fmla="*/ 33681 w 293583"/>
                <a:gd name="connsiteY113" fmla="*/ 202456 h 336550"/>
                <a:gd name="connsiteX114" fmla="*/ 46838 w 293583"/>
                <a:gd name="connsiteY114" fmla="*/ 186680 h 336550"/>
                <a:gd name="connsiteX115" fmla="*/ 53417 w 293583"/>
                <a:gd name="connsiteY115" fmla="*/ 182736 h 336550"/>
                <a:gd name="connsiteX116" fmla="*/ 3418 w 293583"/>
                <a:gd name="connsiteY116" fmla="*/ 90711 h 336550"/>
                <a:gd name="connsiteX117" fmla="*/ 787 w 293583"/>
                <a:gd name="connsiteY117" fmla="*/ 70991 h 336550"/>
                <a:gd name="connsiteX118" fmla="*/ 13944 w 293583"/>
                <a:gd name="connsiteY118" fmla="*/ 55215 h 336550"/>
                <a:gd name="connsiteX119" fmla="*/ 108679 w 293583"/>
                <a:gd name="connsiteY119" fmla="*/ 2629 h 336550"/>
                <a:gd name="connsiteX120" fmla="*/ 121837 w 293583"/>
                <a:gd name="connsiteY120" fmla="*/ 0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93583" h="336550">
                  <a:moveTo>
                    <a:pt x="95356" y="263525"/>
                  </a:moveTo>
                  <a:cubicBezTo>
                    <a:pt x="95356" y="263525"/>
                    <a:pt x="95356" y="263525"/>
                    <a:pt x="89006" y="266065"/>
                  </a:cubicBezTo>
                  <a:cubicBezTo>
                    <a:pt x="87736" y="267335"/>
                    <a:pt x="86466" y="268605"/>
                    <a:pt x="85196" y="271145"/>
                  </a:cubicBezTo>
                  <a:cubicBezTo>
                    <a:pt x="85196" y="273685"/>
                    <a:pt x="85196" y="274955"/>
                    <a:pt x="86466" y="277495"/>
                  </a:cubicBezTo>
                  <a:cubicBezTo>
                    <a:pt x="86466" y="277495"/>
                    <a:pt x="86466" y="277495"/>
                    <a:pt x="86466" y="278765"/>
                  </a:cubicBezTo>
                  <a:cubicBezTo>
                    <a:pt x="87736" y="281305"/>
                    <a:pt x="91546" y="282575"/>
                    <a:pt x="94086" y="282575"/>
                  </a:cubicBezTo>
                  <a:cubicBezTo>
                    <a:pt x="95356" y="282575"/>
                    <a:pt x="96626" y="282575"/>
                    <a:pt x="97896" y="281305"/>
                  </a:cubicBezTo>
                  <a:lnTo>
                    <a:pt x="104246" y="278765"/>
                  </a:lnTo>
                  <a:cubicBezTo>
                    <a:pt x="104246" y="278765"/>
                    <a:pt x="104246" y="278765"/>
                    <a:pt x="95356" y="263525"/>
                  </a:cubicBezTo>
                  <a:close/>
                  <a:moveTo>
                    <a:pt x="194734" y="241300"/>
                  </a:moveTo>
                  <a:cubicBezTo>
                    <a:pt x="194734" y="241300"/>
                    <a:pt x="194734" y="241300"/>
                    <a:pt x="123296" y="278628"/>
                  </a:cubicBezTo>
                  <a:cubicBezTo>
                    <a:pt x="123296" y="278628"/>
                    <a:pt x="123296" y="278628"/>
                    <a:pt x="127265" y="285064"/>
                  </a:cubicBezTo>
                  <a:cubicBezTo>
                    <a:pt x="128588" y="287638"/>
                    <a:pt x="131233" y="288925"/>
                    <a:pt x="135202" y="288925"/>
                  </a:cubicBezTo>
                  <a:cubicBezTo>
                    <a:pt x="136525" y="288925"/>
                    <a:pt x="137848" y="288925"/>
                    <a:pt x="139171" y="287638"/>
                  </a:cubicBezTo>
                  <a:cubicBezTo>
                    <a:pt x="139171" y="287638"/>
                    <a:pt x="139171" y="287638"/>
                    <a:pt x="202671" y="254172"/>
                  </a:cubicBezTo>
                  <a:cubicBezTo>
                    <a:pt x="200025" y="250310"/>
                    <a:pt x="196057" y="246449"/>
                    <a:pt x="194734" y="241300"/>
                  </a:cubicBezTo>
                  <a:close/>
                  <a:moveTo>
                    <a:pt x="77894" y="230187"/>
                  </a:moveTo>
                  <a:cubicBezTo>
                    <a:pt x="77894" y="230187"/>
                    <a:pt x="77894" y="230187"/>
                    <a:pt x="71544" y="234156"/>
                  </a:cubicBezTo>
                  <a:cubicBezTo>
                    <a:pt x="71544" y="234156"/>
                    <a:pt x="71544" y="234156"/>
                    <a:pt x="66464" y="236802"/>
                  </a:cubicBezTo>
                  <a:cubicBezTo>
                    <a:pt x="62654" y="239448"/>
                    <a:pt x="61384" y="244739"/>
                    <a:pt x="62654" y="248708"/>
                  </a:cubicBezTo>
                  <a:cubicBezTo>
                    <a:pt x="62654" y="248708"/>
                    <a:pt x="62654" y="248708"/>
                    <a:pt x="63924" y="250031"/>
                  </a:cubicBezTo>
                  <a:cubicBezTo>
                    <a:pt x="65194" y="252677"/>
                    <a:pt x="67734" y="254000"/>
                    <a:pt x="71544" y="254000"/>
                  </a:cubicBezTo>
                  <a:cubicBezTo>
                    <a:pt x="72814" y="254000"/>
                    <a:pt x="74084" y="254000"/>
                    <a:pt x="75354" y="254000"/>
                  </a:cubicBezTo>
                  <a:cubicBezTo>
                    <a:pt x="75354" y="254000"/>
                    <a:pt x="75354" y="254000"/>
                    <a:pt x="80434" y="250031"/>
                  </a:cubicBezTo>
                  <a:cubicBezTo>
                    <a:pt x="80434" y="250031"/>
                    <a:pt x="80434" y="250031"/>
                    <a:pt x="86784" y="247385"/>
                  </a:cubicBezTo>
                  <a:cubicBezTo>
                    <a:pt x="86784" y="247385"/>
                    <a:pt x="86784" y="247385"/>
                    <a:pt x="77894" y="230187"/>
                  </a:cubicBezTo>
                  <a:close/>
                  <a:moveTo>
                    <a:pt x="61067" y="198437"/>
                  </a:moveTo>
                  <a:cubicBezTo>
                    <a:pt x="61067" y="198437"/>
                    <a:pt x="61067" y="198437"/>
                    <a:pt x="54187" y="202604"/>
                  </a:cubicBezTo>
                  <a:cubicBezTo>
                    <a:pt x="52811" y="202604"/>
                    <a:pt x="51436" y="205382"/>
                    <a:pt x="50060" y="206771"/>
                  </a:cubicBezTo>
                  <a:cubicBezTo>
                    <a:pt x="48684" y="209550"/>
                    <a:pt x="50060" y="212328"/>
                    <a:pt x="51436" y="215106"/>
                  </a:cubicBezTo>
                  <a:cubicBezTo>
                    <a:pt x="52811" y="217884"/>
                    <a:pt x="55563" y="220662"/>
                    <a:pt x="59691" y="220662"/>
                  </a:cubicBezTo>
                  <a:cubicBezTo>
                    <a:pt x="61067" y="220662"/>
                    <a:pt x="62443" y="220662"/>
                    <a:pt x="63818" y="219273"/>
                  </a:cubicBezTo>
                  <a:cubicBezTo>
                    <a:pt x="63818" y="219273"/>
                    <a:pt x="63818" y="219273"/>
                    <a:pt x="69322" y="216495"/>
                  </a:cubicBezTo>
                  <a:cubicBezTo>
                    <a:pt x="69322" y="216495"/>
                    <a:pt x="69322" y="216495"/>
                    <a:pt x="61067" y="198437"/>
                  </a:cubicBezTo>
                  <a:close/>
                  <a:moveTo>
                    <a:pt x="141011" y="42862"/>
                  </a:moveTo>
                  <a:cubicBezTo>
                    <a:pt x="141011" y="42862"/>
                    <a:pt x="141011" y="42862"/>
                    <a:pt x="29634" y="103643"/>
                  </a:cubicBezTo>
                  <a:cubicBezTo>
                    <a:pt x="29634" y="103643"/>
                    <a:pt x="29634" y="103643"/>
                    <a:pt x="116115" y="263525"/>
                  </a:cubicBezTo>
                  <a:cubicBezTo>
                    <a:pt x="116115" y="263525"/>
                    <a:pt x="116115" y="263525"/>
                    <a:pt x="190803" y="222564"/>
                  </a:cubicBezTo>
                  <a:cubicBezTo>
                    <a:pt x="190803" y="215957"/>
                    <a:pt x="190803" y="208029"/>
                    <a:pt x="193424" y="198780"/>
                  </a:cubicBezTo>
                  <a:cubicBezTo>
                    <a:pt x="193424" y="197458"/>
                    <a:pt x="193424" y="197458"/>
                    <a:pt x="193424" y="197458"/>
                  </a:cubicBezTo>
                  <a:cubicBezTo>
                    <a:pt x="194734" y="194816"/>
                    <a:pt x="194734" y="190852"/>
                    <a:pt x="194734" y="189530"/>
                  </a:cubicBezTo>
                  <a:cubicBezTo>
                    <a:pt x="193424" y="188209"/>
                    <a:pt x="190803" y="186888"/>
                    <a:pt x="185562" y="186888"/>
                  </a:cubicBezTo>
                  <a:cubicBezTo>
                    <a:pt x="176389" y="188209"/>
                    <a:pt x="159355" y="185566"/>
                    <a:pt x="152804" y="167068"/>
                  </a:cubicBezTo>
                  <a:cubicBezTo>
                    <a:pt x="147562" y="153854"/>
                    <a:pt x="158045" y="139319"/>
                    <a:pt x="177700" y="130070"/>
                  </a:cubicBezTo>
                  <a:cubicBezTo>
                    <a:pt x="180320" y="128749"/>
                    <a:pt x="182941" y="127428"/>
                    <a:pt x="185562" y="126106"/>
                  </a:cubicBezTo>
                  <a:cubicBezTo>
                    <a:pt x="185562" y="126106"/>
                    <a:pt x="185562" y="126106"/>
                    <a:pt x="141011" y="42862"/>
                  </a:cubicBezTo>
                  <a:close/>
                  <a:moveTo>
                    <a:pt x="120699" y="17462"/>
                  </a:moveTo>
                  <a:cubicBezTo>
                    <a:pt x="119382" y="17462"/>
                    <a:pt x="118065" y="18785"/>
                    <a:pt x="116748" y="18785"/>
                  </a:cubicBezTo>
                  <a:cubicBezTo>
                    <a:pt x="116748" y="18785"/>
                    <a:pt x="116748" y="18785"/>
                    <a:pt x="20614" y="70379"/>
                  </a:cubicBezTo>
                  <a:cubicBezTo>
                    <a:pt x="17980" y="71702"/>
                    <a:pt x="16663" y="74348"/>
                    <a:pt x="16663" y="75671"/>
                  </a:cubicBezTo>
                  <a:cubicBezTo>
                    <a:pt x="15346" y="78317"/>
                    <a:pt x="15346" y="80962"/>
                    <a:pt x="16663" y="82285"/>
                  </a:cubicBezTo>
                  <a:cubicBezTo>
                    <a:pt x="16663" y="82285"/>
                    <a:pt x="16663" y="82285"/>
                    <a:pt x="20614" y="88900"/>
                  </a:cubicBezTo>
                  <a:cubicBezTo>
                    <a:pt x="20614" y="88900"/>
                    <a:pt x="20614" y="88900"/>
                    <a:pt x="131234" y="29368"/>
                  </a:cubicBezTo>
                  <a:cubicBezTo>
                    <a:pt x="131234" y="29368"/>
                    <a:pt x="131234" y="29368"/>
                    <a:pt x="128600" y="22754"/>
                  </a:cubicBezTo>
                  <a:cubicBezTo>
                    <a:pt x="125966" y="20108"/>
                    <a:pt x="123332" y="17462"/>
                    <a:pt x="120699" y="17462"/>
                  </a:cubicBezTo>
                  <a:close/>
                  <a:moveTo>
                    <a:pt x="192839" y="5790"/>
                  </a:moveTo>
                  <a:cubicBezTo>
                    <a:pt x="198107" y="5790"/>
                    <a:pt x="202058" y="9712"/>
                    <a:pt x="202058" y="13634"/>
                  </a:cubicBezTo>
                  <a:cubicBezTo>
                    <a:pt x="202058" y="13634"/>
                    <a:pt x="202058" y="13634"/>
                    <a:pt x="202058" y="17556"/>
                  </a:cubicBezTo>
                  <a:cubicBezTo>
                    <a:pt x="224445" y="3175"/>
                    <a:pt x="256051" y="5790"/>
                    <a:pt x="275805" y="26707"/>
                  </a:cubicBezTo>
                  <a:cubicBezTo>
                    <a:pt x="299509" y="50240"/>
                    <a:pt x="299509" y="88153"/>
                    <a:pt x="275805" y="111685"/>
                  </a:cubicBezTo>
                  <a:cubicBezTo>
                    <a:pt x="274488" y="114300"/>
                    <a:pt x="271854" y="114300"/>
                    <a:pt x="270537" y="114300"/>
                  </a:cubicBezTo>
                  <a:cubicBezTo>
                    <a:pt x="267903" y="114300"/>
                    <a:pt x="265269" y="114300"/>
                    <a:pt x="263953" y="111685"/>
                  </a:cubicBezTo>
                  <a:cubicBezTo>
                    <a:pt x="260002" y="109071"/>
                    <a:pt x="260002" y="102534"/>
                    <a:pt x="263953" y="99919"/>
                  </a:cubicBezTo>
                  <a:cubicBezTo>
                    <a:pt x="281072" y="82924"/>
                    <a:pt x="281072" y="55469"/>
                    <a:pt x="263953" y="38474"/>
                  </a:cubicBezTo>
                  <a:cubicBezTo>
                    <a:pt x="256051" y="30629"/>
                    <a:pt x="244199" y="26707"/>
                    <a:pt x="233664" y="26707"/>
                  </a:cubicBezTo>
                  <a:cubicBezTo>
                    <a:pt x="225762" y="26707"/>
                    <a:pt x="219178" y="28015"/>
                    <a:pt x="213910" y="30629"/>
                  </a:cubicBezTo>
                  <a:cubicBezTo>
                    <a:pt x="213910" y="30629"/>
                    <a:pt x="213910" y="30629"/>
                    <a:pt x="217861" y="30629"/>
                  </a:cubicBezTo>
                  <a:cubicBezTo>
                    <a:pt x="223128" y="30629"/>
                    <a:pt x="227079" y="34551"/>
                    <a:pt x="227079" y="39781"/>
                  </a:cubicBezTo>
                  <a:cubicBezTo>
                    <a:pt x="227079" y="45010"/>
                    <a:pt x="223128" y="48932"/>
                    <a:pt x="217861" y="48932"/>
                  </a:cubicBezTo>
                  <a:cubicBezTo>
                    <a:pt x="217861" y="48932"/>
                    <a:pt x="217861" y="48932"/>
                    <a:pt x="192839" y="48932"/>
                  </a:cubicBezTo>
                  <a:cubicBezTo>
                    <a:pt x="187572" y="48932"/>
                    <a:pt x="183621" y="45010"/>
                    <a:pt x="183621" y="39781"/>
                  </a:cubicBezTo>
                  <a:cubicBezTo>
                    <a:pt x="183621" y="39781"/>
                    <a:pt x="183621" y="39781"/>
                    <a:pt x="183621" y="13634"/>
                  </a:cubicBezTo>
                  <a:cubicBezTo>
                    <a:pt x="183621" y="9712"/>
                    <a:pt x="187572" y="5790"/>
                    <a:pt x="192839" y="5790"/>
                  </a:cubicBezTo>
                  <a:close/>
                  <a:moveTo>
                    <a:pt x="121837" y="0"/>
                  </a:moveTo>
                  <a:cubicBezTo>
                    <a:pt x="131047" y="0"/>
                    <a:pt x="140258" y="5259"/>
                    <a:pt x="144205" y="13146"/>
                  </a:cubicBezTo>
                  <a:cubicBezTo>
                    <a:pt x="144205" y="13146"/>
                    <a:pt x="144205" y="13146"/>
                    <a:pt x="203415" y="120948"/>
                  </a:cubicBezTo>
                  <a:cubicBezTo>
                    <a:pt x="215257" y="118318"/>
                    <a:pt x="227099" y="119633"/>
                    <a:pt x="236309" y="123577"/>
                  </a:cubicBezTo>
                  <a:cubicBezTo>
                    <a:pt x="248151" y="128836"/>
                    <a:pt x="257361" y="139353"/>
                    <a:pt x="262624" y="153814"/>
                  </a:cubicBezTo>
                  <a:cubicBezTo>
                    <a:pt x="263940" y="155129"/>
                    <a:pt x="263940" y="157758"/>
                    <a:pt x="265256" y="160387"/>
                  </a:cubicBezTo>
                  <a:cubicBezTo>
                    <a:pt x="277098" y="191939"/>
                    <a:pt x="291571" y="236637"/>
                    <a:pt x="274466" y="281335"/>
                  </a:cubicBezTo>
                  <a:cubicBezTo>
                    <a:pt x="273150" y="285279"/>
                    <a:pt x="269203" y="286593"/>
                    <a:pt x="266572" y="286593"/>
                  </a:cubicBezTo>
                  <a:cubicBezTo>
                    <a:pt x="265256" y="286593"/>
                    <a:pt x="263940" y="286593"/>
                    <a:pt x="262624" y="286593"/>
                  </a:cubicBezTo>
                  <a:cubicBezTo>
                    <a:pt x="258677" y="285279"/>
                    <a:pt x="256045" y="280020"/>
                    <a:pt x="257361" y="274762"/>
                  </a:cubicBezTo>
                  <a:cubicBezTo>
                    <a:pt x="273150" y="235322"/>
                    <a:pt x="259993" y="197197"/>
                    <a:pt x="248151" y="165646"/>
                  </a:cubicBezTo>
                  <a:cubicBezTo>
                    <a:pt x="248151" y="164331"/>
                    <a:pt x="246835" y="161702"/>
                    <a:pt x="246835" y="159072"/>
                  </a:cubicBezTo>
                  <a:cubicBezTo>
                    <a:pt x="242888" y="149870"/>
                    <a:pt x="237625" y="143297"/>
                    <a:pt x="229730" y="139353"/>
                  </a:cubicBezTo>
                  <a:cubicBezTo>
                    <a:pt x="219204" y="135409"/>
                    <a:pt x="203415" y="136723"/>
                    <a:pt x="184994" y="145926"/>
                  </a:cubicBezTo>
                  <a:cubicBezTo>
                    <a:pt x="178415" y="148555"/>
                    <a:pt x="167889" y="156443"/>
                    <a:pt x="170520" y="161702"/>
                  </a:cubicBezTo>
                  <a:cubicBezTo>
                    <a:pt x="173152" y="170904"/>
                    <a:pt x="183678" y="169590"/>
                    <a:pt x="184994" y="169590"/>
                  </a:cubicBezTo>
                  <a:cubicBezTo>
                    <a:pt x="196836" y="169590"/>
                    <a:pt x="204731" y="172219"/>
                    <a:pt x="209994" y="180107"/>
                  </a:cubicBezTo>
                  <a:cubicBezTo>
                    <a:pt x="215257" y="189309"/>
                    <a:pt x="212625" y="199827"/>
                    <a:pt x="211309" y="202456"/>
                  </a:cubicBezTo>
                  <a:cubicBezTo>
                    <a:pt x="206046" y="226120"/>
                    <a:pt x="211309" y="241895"/>
                    <a:pt x="227099" y="251098"/>
                  </a:cubicBezTo>
                  <a:cubicBezTo>
                    <a:pt x="231046" y="252413"/>
                    <a:pt x="233677" y="257671"/>
                    <a:pt x="231046" y="262930"/>
                  </a:cubicBezTo>
                  <a:cubicBezTo>
                    <a:pt x="228414" y="266874"/>
                    <a:pt x="223151" y="268188"/>
                    <a:pt x="219204" y="266874"/>
                  </a:cubicBezTo>
                  <a:cubicBezTo>
                    <a:pt x="219204" y="265559"/>
                    <a:pt x="219204" y="265559"/>
                    <a:pt x="217888" y="265559"/>
                  </a:cubicBezTo>
                  <a:cubicBezTo>
                    <a:pt x="217888" y="265559"/>
                    <a:pt x="217888" y="265559"/>
                    <a:pt x="154731" y="299740"/>
                  </a:cubicBezTo>
                  <a:cubicBezTo>
                    <a:pt x="158679" y="306313"/>
                    <a:pt x="166573" y="315516"/>
                    <a:pt x="175783" y="319460"/>
                  </a:cubicBezTo>
                  <a:cubicBezTo>
                    <a:pt x="179731" y="322089"/>
                    <a:pt x="182362" y="327347"/>
                    <a:pt x="179731" y="331291"/>
                  </a:cubicBezTo>
                  <a:cubicBezTo>
                    <a:pt x="178415" y="335235"/>
                    <a:pt x="175783" y="336550"/>
                    <a:pt x="171836" y="336550"/>
                  </a:cubicBezTo>
                  <a:cubicBezTo>
                    <a:pt x="170520" y="336550"/>
                    <a:pt x="169205" y="336550"/>
                    <a:pt x="167889" y="335235"/>
                  </a:cubicBezTo>
                  <a:cubicBezTo>
                    <a:pt x="153415" y="328662"/>
                    <a:pt x="142889" y="314201"/>
                    <a:pt x="137626" y="306313"/>
                  </a:cubicBezTo>
                  <a:cubicBezTo>
                    <a:pt x="137626" y="306313"/>
                    <a:pt x="136311" y="306313"/>
                    <a:pt x="136311" y="306313"/>
                  </a:cubicBezTo>
                  <a:cubicBezTo>
                    <a:pt x="127100" y="306313"/>
                    <a:pt x="117890" y="302369"/>
                    <a:pt x="112627" y="294481"/>
                  </a:cubicBezTo>
                  <a:cubicBezTo>
                    <a:pt x="112627" y="294481"/>
                    <a:pt x="112627" y="294481"/>
                    <a:pt x="107364" y="297111"/>
                  </a:cubicBezTo>
                  <a:cubicBezTo>
                    <a:pt x="103416" y="299740"/>
                    <a:pt x="98153" y="301055"/>
                    <a:pt x="94206" y="301055"/>
                  </a:cubicBezTo>
                  <a:cubicBezTo>
                    <a:pt x="84996" y="301055"/>
                    <a:pt x="75785" y="295796"/>
                    <a:pt x="70522" y="286593"/>
                  </a:cubicBezTo>
                  <a:cubicBezTo>
                    <a:pt x="70522" y="286593"/>
                    <a:pt x="70522" y="286593"/>
                    <a:pt x="70522" y="285279"/>
                  </a:cubicBezTo>
                  <a:cubicBezTo>
                    <a:pt x="67891" y="281335"/>
                    <a:pt x="66575" y="276076"/>
                    <a:pt x="67891" y="272132"/>
                  </a:cubicBezTo>
                  <a:cubicBezTo>
                    <a:pt x="58680" y="270818"/>
                    <a:pt x="52102" y="265559"/>
                    <a:pt x="48154" y="257671"/>
                  </a:cubicBezTo>
                  <a:cubicBezTo>
                    <a:pt x="48154" y="257671"/>
                    <a:pt x="48154" y="257671"/>
                    <a:pt x="48154" y="256356"/>
                  </a:cubicBezTo>
                  <a:cubicBezTo>
                    <a:pt x="42891" y="249783"/>
                    <a:pt x="42891" y="240581"/>
                    <a:pt x="46838" y="234007"/>
                  </a:cubicBezTo>
                  <a:cubicBezTo>
                    <a:pt x="42891" y="231378"/>
                    <a:pt x="38944" y="227434"/>
                    <a:pt x="36312" y="223490"/>
                  </a:cubicBezTo>
                  <a:cubicBezTo>
                    <a:pt x="36312" y="223490"/>
                    <a:pt x="36312" y="223490"/>
                    <a:pt x="36312" y="222176"/>
                  </a:cubicBezTo>
                  <a:cubicBezTo>
                    <a:pt x="32365" y="215602"/>
                    <a:pt x="32365" y="209029"/>
                    <a:pt x="33681" y="202456"/>
                  </a:cubicBezTo>
                  <a:cubicBezTo>
                    <a:pt x="36312" y="195883"/>
                    <a:pt x="40260" y="189309"/>
                    <a:pt x="46838" y="186680"/>
                  </a:cubicBezTo>
                  <a:cubicBezTo>
                    <a:pt x="46838" y="186680"/>
                    <a:pt x="46838" y="186680"/>
                    <a:pt x="53417" y="182736"/>
                  </a:cubicBezTo>
                  <a:cubicBezTo>
                    <a:pt x="53417" y="182736"/>
                    <a:pt x="53417" y="182736"/>
                    <a:pt x="3418" y="90711"/>
                  </a:cubicBezTo>
                  <a:cubicBezTo>
                    <a:pt x="-529" y="84138"/>
                    <a:pt x="-529" y="77564"/>
                    <a:pt x="787" y="70991"/>
                  </a:cubicBezTo>
                  <a:cubicBezTo>
                    <a:pt x="3418" y="63103"/>
                    <a:pt x="7365" y="57845"/>
                    <a:pt x="13944" y="55215"/>
                  </a:cubicBezTo>
                  <a:cubicBezTo>
                    <a:pt x="13944" y="55215"/>
                    <a:pt x="13944" y="55215"/>
                    <a:pt x="108679" y="2629"/>
                  </a:cubicBezTo>
                  <a:cubicBezTo>
                    <a:pt x="112627" y="1315"/>
                    <a:pt x="116574" y="0"/>
                    <a:pt x="12183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cxnSp>
          <p:nvCxnSpPr>
            <p:cNvPr id="8" name="直接连接符 7"/>
            <p:cNvCxnSpPr/>
            <p:nvPr/>
          </p:nvCxnSpPr>
          <p:spPr>
            <a:xfrm>
              <a:off x="7896000" y="2328931"/>
              <a:ext cx="3624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/>
          </p:nvCxnSpPr>
          <p:spPr>
            <a:xfrm flipH="1">
              <a:off x="669925" y="3104431"/>
              <a:ext cx="3626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/>
          </p:nvCxnSpPr>
          <p:spPr>
            <a:xfrm>
              <a:off x="6331458" y="5442906"/>
              <a:ext cx="518903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îṥ1ïḑé"/>
            <p:cNvSpPr txBox="1"/>
            <p:nvPr/>
          </p:nvSpPr>
          <p:spPr>
            <a:xfrm>
              <a:off x="7817948" y="1936419"/>
              <a:ext cx="3702539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 lnSpcReduction="10000"/>
            </a:bodyPr>
            <a:lstStyle/>
            <a:p>
              <a:pPr>
                <a:buSzPct val="25000"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</a:t>
              </a:r>
              <a:endParaRPr lang="de-DE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2" name="îṩḻïḓe"/>
            <p:cNvSpPr txBox="1"/>
            <p:nvPr/>
          </p:nvSpPr>
          <p:spPr>
            <a:xfrm>
              <a:off x="7817948" y="2328931"/>
              <a:ext cx="3702539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13" name="îṥļíḑê"/>
            <p:cNvSpPr txBox="1"/>
            <p:nvPr/>
          </p:nvSpPr>
          <p:spPr>
            <a:xfrm>
              <a:off x="6331458" y="5050394"/>
              <a:ext cx="518903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 lnSpcReduction="10000"/>
            </a:bodyPr>
            <a:lstStyle/>
            <a:p>
              <a:pPr>
                <a:buSzPct val="25000"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</a:t>
              </a:r>
              <a:endParaRPr lang="de-DE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4" name="îṣlidê"/>
            <p:cNvSpPr txBox="1"/>
            <p:nvPr/>
          </p:nvSpPr>
          <p:spPr>
            <a:xfrm>
              <a:off x="6331458" y="5442906"/>
              <a:ext cx="5189030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15" name="îṡḷídé"/>
            <p:cNvSpPr txBox="1"/>
            <p:nvPr/>
          </p:nvSpPr>
          <p:spPr>
            <a:xfrm>
              <a:off x="671513" y="2711919"/>
              <a:ext cx="362448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ctr" anchorCtr="0">
              <a:normAutofit lnSpcReduction="10000"/>
            </a:bodyPr>
            <a:lstStyle/>
            <a:p>
              <a:pPr>
                <a:buSzPct val="25000"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</a:t>
              </a:r>
              <a:endParaRPr lang="de-DE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6" name="iṧḻîďé"/>
            <p:cNvSpPr txBox="1"/>
            <p:nvPr/>
          </p:nvSpPr>
          <p:spPr>
            <a:xfrm>
              <a:off x="671513" y="3104431"/>
              <a:ext cx="3624487" cy="624918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Autofit/>
            </a:bodyPr>
            <a:lstStyle/>
            <a:p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17" name="iṥ1idé" title="WSpneox6o6"/>
            <p:cNvSpPr/>
            <p:nvPr/>
          </p:nvSpPr>
          <p:spPr bwMode="auto">
            <a:xfrm>
              <a:off x="11203900" y="5081803"/>
              <a:ext cx="315000" cy="361102"/>
            </a:xfrm>
            <a:custGeom>
              <a:avLst/>
              <a:gdLst>
                <a:gd name="connsiteX0" fmla="*/ 95356 w 293583"/>
                <a:gd name="connsiteY0" fmla="*/ 263525 h 336550"/>
                <a:gd name="connsiteX1" fmla="*/ 89006 w 293583"/>
                <a:gd name="connsiteY1" fmla="*/ 266065 h 336550"/>
                <a:gd name="connsiteX2" fmla="*/ 85196 w 293583"/>
                <a:gd name="connsiteY2" fmla="*/ 271145 h 336550"/>
                <a:gd name="connsiteX3" fmla="*/ 86466 w 293583"/>
                <a:gd name="connsiteY3" fmla="*/ 277495 h 336550"/>
                <a:gd name="connsiteX4" fmla="*/ 86466 w 293583"/>
                <a:gd name="connsiteY4" fmla="*/ 278765 h 336550"/>
                <a:gd name="connsiteX5" fmla="*/ 94086 w 293583"/>
                <a:gd name="connsiteY5" fmla="*/ 282575 h 336550"/>
                <a:gd name="connsiteX6" fmla="*/ 97896 w 293583"/>
                <a:gd name="connsiteY6" fmla="*/ 281305 h 336550"/>
                <a:gd name="connsiteX7" fmla="*/ 104246 w 293583"/>
                <a:gd name="connsiteY7" fmla="*/ 278765 h 336550"/>
                <a:gd name="connsiteX8" fmla="*/ 95356 w 293583"/>
                <a:gd name="connsiteY8" fmla="*/ 263525 h 336550"/>
                <a:gd name="connsiteX9" fmla="*/ 194734 w 293583"/>
                <a:gd name="connsiteY9" fmla="*/ 241300 h 336550"/>
                <a:gd name="connsiteX10" fmla="*/ 123296 w 293583"/>
                <a:gd name="connsiteY10" fmla="*/ 278628 h 336550"/>
                <a:gd name="connsiteX11" fmla="*/ 127265 w 293583"/>
                <a:gd name="connsiteY11" fmla="*/ 285064 h 336550"/>
                <a:gd name="connsiteX12" fmla="*/ 135202 w 293583"/>
                <a:gd name="connsiteY12" fmla="*/ 288925 h 336550"/>
                <a:gd name="connsiteX13" fmla="*/ 139171 w 293583"/>
                <a:gd name="connsiteY13" fmla="*/ 287638 h 336550"/>
                <a:gd name="connsiteX14" fmla="*/ 202671 w 293583"/>
                <a:gd name="connsiteY14" fmla="*/ 254172 h 336550"/>
                <a:gd name="connsiteX15" fmla="*/ 194734 w 293583"/>
                <a:gd name="connsiteY15" fmla="*/ 241300 h 336550"/>
                <a:gd name="connsiteX16" fmla="*/ 77894 w 293583"/>
                <a:gd name="connsiteY16" fmla="*/ 230187 h 336550"/>
                <a:gd name="connsiteX17" fmla="*/ 71544 w 293583"/>
                <a:gd name="connsiteY17" fmla="*/ 234156 h 336550"/>
                <a:gd name="connsiteX18" fmla="*/ 66464 w 293583"/>
                <a:gd name="connsiteY18" fmla="*/ 236802 h 336550"/>
                <a:gd name="connsiteX19" fmla="*/ 62654 w 293583"/>
                <a:gd name="connsiteY19" fmla="*/ 248708 h 336550"/>
                <a:gd name="connsiteX20" fmla="*/ 63924 w 293583"/>
                <a:gd name="connsiteY20" fmla="*/ 250031 h 336550"/>
                <a:gd name="connsiteX21" fmla="*/ 71544 w 293583"/>
                <a:gd name="connsiteY21" fmla="*/ 254000 h 336550"/>
                <a:gd name="connsiteX22" fmla="*/ 75354 w 293583"/>
                <a:gd name="connsiteY22" fmla="*/ 254000 h 336550"/>
                <a:gd name="connsiteX23" fmla="*/ 80434 w 293583"/>
                <a:gd name="connsiteY23" fmla="*/ 250031 h 336550"/>
                <a:gd name="connsiteX24" fmla="*/ 86784 w 293583"/>
                <a:gd name="connsiteY24" fmla="*/ 247385 h 336550"/>
                <a:gd name="connsiteX25" fmla="*/ 77894 w 293583"/>
                <a:gd name="connsiteY25" fmla="*/ 230187 h 336550"/>
                <a:gd name="connsiteX26" fmla="*/ 61067 w 293583"/>
                <a:gd name="connsiteY26" fmla="*/ 198437 h 336550"/>
                <a:gd name="connsiteX27" fmla="*/ 54187 w 293583"/>
                <a:gd name="connsiteY27" fmla="*/ 202604 h 336550"/>
                <a:gd name="connsiteX28" fmla="*/ 50060 w 293583"/>
                <a:gd name="connsiteY28" fmla="*/ 206771 h 336550"/>
                <a:gd name="connsiteX29" fmla="*/ 51436 w 293583"/>
                <a:gd name="connsiteY29" fmla="*/ 215106 h 336550"/>
                <a:gd name="connsiteX30" fmla="*/ 59691 w 293583"/>
                <a:gd name="connsiteY30" fmla="*/ 220662 h 336550"/>
                <a:gd name="connsiteX31" fmla="*/ 63818 w 293583"/>
                <a:gd name="connsiteY31" fmla="*/ 219273 h 336550"/>
                <a:gd name="connsiteX32" fmla="*/ 69322 w 293583"/>
                <a:gd name="connsiteY32" fmla="*/ 216495 h 336550"/>
                <a:gd name="connsiteX33" fmla="*/ 61067 w 293583"/>
                <a:gd name="connsiteY33" fmla="*/ 198437 h 336550"/>
                <a:gd name="connsiteX34" fmla="*/ 141011 w 293583"/>
                <a:gd name="connsiteY34" fmla="*/ 42862 h 336550"/>
                <a:gd name="connsiteX35" fmla="*/ 29634 w 293583"/>
                <a:gd name="connsiteY35" fmla="*/ 103643 h 336550"/>
                <a:gd name="connsiteX36" fmla="*/ 116115 w 293583"/>
                <a:gd name="connsiteY36" fmla="*/ 263525 h 336550"/>
                <a:gd name="connsiteX37" fmla="*/ 190803 w 293583"/>
                <a:gd name="connsiteY37" fmla="*/ 222564 h 336550"/>
                <a:gd name="connsiteX38" fmla="*/ 193424 w 293583"/>
                <a:gd name="connsiteY38" fmla="*/ 198780 h 336550"/>
                <a:gd name="connsiteX39" fmla="*/ 193424 w 293583"/>
                <a:gd name="connsiteY39" fmla="*/ 197458 h 336550"/>
                <a:gd name="connsiteX40" fmla="*/ 194734 w 293583"/>
                <a:gd name="connsiteY40" fmla="*/ 189530 h 336550"/>
                <a:gd name="connsiteX41" fmla="*/ 185562 w 293583"/>
                <a:gd name="connsiteY41" fmla="*/ 186888 h 336550"/>
                <a:gd name="connsiteX42" fmla="*/ 152804 w 293583"/>
                <a:gd name="connsiteY42" fmla="*/ 167068 h 336550"/>
                <a:gd name="connsiteX43" fmla="*/ 177700 w 293583"/>
                <a:gd name="connsiteY43" fmla="*/ 130070 h 336550"/>
                <a:gd name="connsiteX44" fmla="*/ 185562 w 293583"/>
                <a:gd name="connsiteY44" fmla="*/ 126106 h 336550"/>
                <a:gd name="connsiteX45" fmla="*/ 141011 w 293583"/>
                <a:gd name="connsiteY45" fmla="*/ 42862 h 336550"/>
                <a:gd name="connsiteX46" fmla="*/ 120699 w 293583"/>
                <a:gd name="connsiteY46" fmla="*/ 17462 h 336550"/>
                <a:gd name="connsiteX47" fmla="*/ 116748 w 293583"/>
                <a:gd name="connsiteY47" fmla="*/ 18785 h 336550"/>
                <a:gd name="connsiteX48" fmla="*/ 20614 w 293583"/>
                <a:gd name="connsiteY48" fmla="*/ 70379 h 336550"/>
                <a:gd name="connsiteX49" fmla="*/ 16663 w 293583"/>
                <a:gd name="connsiteY49" fmla="*/ 75671 h 336550"/>
                <a:gd name="connsiteX50" fmla="*/ 16663 w 293583"/>
                <a:gd name="connsiteY50" fmla="*/ 82285 h 336550"/>
                <a:gd name="connsiteX51" fmla="*/ 20614 w 293583"/>
                <a:gd name="connsiteY51" fmla="*/ 88900 h 336550"/>
                <a:gd name="connsiteX52" fmla="*/ 131234 w 293583"/>
                <a:gd name="connsiteY52" fmla="*/ 29368 h 336550"/>
                <a:gd name="connsiteX53" fmla="*/ 128600 w 293583"/>
                <a:gd name="connsiteY53" fmla="*/ 22754 h 336550"/>
                <a:gd name="connsiteX54" fmla="*/ 120699 w 293583"/>
                <a:gd name="connsiteY54" fmla="*/ 17462 h 336550"/>
                <a:gd name="connsiteX55" fmla="*/ 192839 w 293583"/>
                <a:gd name="connsiteY55" fmla="*/ 5790 h 336550"/>
                <a:gd name="connsiteX56" fmla="*/ 202058 w 293583"/>
                <a:gd name="connsiteY56" fmla="*/ 13634 h 336550"/>
                <a:gd name="connsiteX57" fmla="*/ 202058 w 293583"/>
                <a:gd name="connsiteY57" fmla="*/ 17556 h 336550"/>
                <a:gd name="connsiteX58" fmla="*/ 275805 w 293583"/>
                <a:gd name="connsiteY58" fmla="*/ 26707 h 336550"/>
                <a:gd name="connsiteX59" fmla="*/ 275805 w 293583"/>
                <a:gd name="connsiteY59" fmla="*/ 111685 h 336550"/>
                <a:gd name="connsiteX60" fmla="*/ 270537 w 293583"/>
                <a:gd name="connsiteY60" fmla="*/ 114300 h 336550"/>
                <a:gd name="connsiteX61" fmla="*/ 263953 w 293583"/>
                <a:gd name="connsiteY61" fmla="*/ 111685 h 336550"/>
                <a:gd name="connsiteX62" fmla="*/ 263953 w 293583"/>
                <a:gd name="connsiteY62" fmla="*/ 99919 h 336550"/>
                <a:gd name="connsiteX63" fmla="*/ 263953 w 293583"/>
                <a:gd name="connsiteY63" fmla="*/ 38474 h 336550"/>
                <a:gd name="connsiteX64" fmla="*/ 233664 w 293583"/>
                <a:gd name="connsiteY64" fmla="*/ 26707 h 336550"/>
                <a:gd name="connsiteX65" fmla="*/ 213910 w 293583"/>
                <a:gd name="connsiteY65" fmla="*/ 30629 h 336550"/>
                <a:gd name="connsiteX66" fmla="*/ 217861 w 293583"/>
                <a:gd name="connsiteY66" fmla="*/ 30629 h 336550"/>
                <a:gd name="connsiteX67" fmla="*/ 227079 w 293583"/>
                <a:gd name="connsiteY67" fmla="*/ 39781 h 336550"/>
                <a:gd name="connsiteX68" fmla="*/ 217861 w 293583"/>
                <a:gd name="connsiteY68" fmla="*/ 48932 h 336550"/>
                <a:gd name="connsiteX69" fmla="*/ 192839 w 293583"/>
                <a:gd name="connsiteY69" fmla="*/ 48932 h 336550"/>
                <a:gd name="connsiteX70" fmla="*/ 183621 w 293583"/>
                <a:gd name="connsiteY70" fmla="*/ 39781 h 336550"/>
                <a:gd name="connsiteX71" fmla="*/ 183621 w 293583"/>
                <a:gd name="connsiteY71" fmla="*/ 13634 h 336550"/>
                <a:gd name="connsiteX72" fmla="*/ 192839 w 293583"/>
                <a:gd name="connsiteY72" fmla="*/ 5790 h 336550"/>
                <a:gd name="connsiteX73" fmla="*/ 121837 w 293583"/>
                <a:gd name="connsiteY73" fmla="*/ 0 h 336550"/>
                <a:gd name="connsiteX74" fmla="*/ 144205 w 293583"/>
                <a:gd name="connsiteY74" fmla="*/ 13146 h 336550"/>
                <a:gd name="connsiteX75" fmla="*/ 203415 w 293583"/>
                <a:gd name="connsiteY75" fmla="*/ 120948 h 336550"/>
                <a:gd name="connsiteX76" fmla="*/ 236309 w 293583"/>
                <a:gd name="connsiteY76" fmla="*/ 123577 h 336550"/>
                <a:gd name="connsiteX77" fmla="*/ 262624 w 293583"/>
                <a:gd name="connsiteY77" fmla="*/ 153814 h 336550"/>
                <a:gd name="connsiteX78" fmla="*/ 265256 w 293583"/>
                <a:gd name="connsiteY78" fmla="*/ 160387 h 336550"/>
                <a:gd name="connsiteX79" fmla="*/ 274466 w 293583"/>
                <a:gd name="connsiteY79" fmla="*/ 281335 h 336550"/>
                <a:gd name="connsiteX80" fmla="*/ 266572 w 293583"/>
                <a:gd name="connsiteY80" fmla="*/ 286593 h 336550"/>
                <a:gd name="connsiteX81" fmla="*/ 262624 w 293583"/>
                <a:gd name="connsiteY81" fmla="*/ 286593 h 336550"/>
                <a:gd name="connsiteX82" fmla="*/ 257361 w 293583"/>
                <a:gd name="connsiteY82" fmla="*/ 274762 h 336550"/>
                <a:gd name="connsiteX83" fmla="*/ 248151 w 293583"/>
                <a:gd name="connsiteY83" fmla="*/ 165646 h 336550"/>
                <a:gd name="connsiteX84" fmla="*/ 246835 w 293583"/>
                <a:gd name="connsiteY84" fmla="*/ 159072 h 336550"/>
                <a:gd name="connsiteX85" fmla="*/ 229730 w 293583"/>
                <a:gd name="connsiteY85" fmla="*/ 139353 h 336550"/>
                <a:gd name="connsiteX86" fmla="*/ 184994 w 293583"/>
                <a:gd name="connsiteY86" fmla="*/ 145926 h 336550"/>
                <a:gd name="connsiteX87" fmla="*/ 170520 w 293583"/>
                <a:gd name="connsiteY87" fmla="*/ 161702 h 336550"/>
                <a:gd name="connsiteX88" fmla="*/ 184994 w 293583"/>
                <a:gd name="connsiteY88" fmla="*/ 169590 h 336550"/>
                <a:gd name="connsiteX89" fmla="*/ 209994 w 293583"/>
                <a:gd name="connsiteY89" fmla="*/ 180107 h 336550"/>
                <a:gd name="connsiteX90" fmla="*/ 211309 w 293583"/>
                <a:gd name="connsiteY90" fmla="*/ 202456 h 336550"/>
                <a:gd name="connsiteX91" fmla="*/ 227099 w 293583"/>
                <a:gd name="connsiteY91" fmla="*/ 251098 h 336550"/>
                <a:gd name="connsiteX92" fmla="*/ 231046 w 293583"/>
                <a:gd name="connsiteY92" fmla="*/ 262930 h 336550"/>
                <a:gd name="connsiteX93" fmla="*/ 219204 w 293583"/>
                <a:gd name="connsiteY93" fmla="*/ 266874 h 336550"/>
                <a:gd name="connsiteX94" fmla="*/ 217888 w 293583"/>
                <a:gd name="connsiteY94" fmla="*/ 265559 h 336550"/>
                <a:gd name="connsiteX95" fmla="*/ 154731 w 293583"/>
                <a:gd name="connsiteY95" fmla="*/ 299740 h 336550"/>
                <a:gd name="connsiteX96" fmla="*/ 175783 w 293583"/>
                <a:gd name="connsiteY96" fmla="*/ 319460 h 336550"/>
                <a:gd name="connsiteX97" fmla="*/ 179731 w 293583"/>
                <a:gd name="connsiteY97" fmla="*/ 331291 h 336550"/>
                <a:gd name="connsiteX98" fmla="*/ 171836 w 293583"/>
                <a:gd name="connsiteY98" fmla="*/ 336550 h 336550"/>
                <a:gd name="connsiteX99" fmla="*/ 167889 w 293583"/>
                <a:gd name="connsiteY99" fmla="*/ 335235 h 336550"/>
                <a:gd name="connsiteX100" fmla="*/ 137626 w 293583"/>
                <a:gd name="connsiteY100" fmla="*/ 306313 h 336550"/>
                <a:gd name="connsiteX101" fmla="*/ 136311 w 293583"/>
                <a:gd name="connsiteY101" fmla="*/ 306313 h 336550"/>
                <a:gd name="connsiteX102" fmla="*/ 112627 w 293583"/>
                <a:gd name="connsiteY102" fmla="*/ 294481 h 336550"/>
                <a:gd name="connsiteX103" fmla="*/ 107364 w 293583"/>
                <a:gd name="connsiteY103" fmla="*/ 297111 h 336550"/>
                <a:gd name="connsiteX104" fmla="*/ 94206 w 293583"/>
                <a:gd name="connsiteY104" fmla="*/ 301055 h 336550"/>
                <a:gd name="connsiteX105" fmla="*/ 70522 w 293583"/>
                <a:gd name="connsiteY105" fmla="*/ 286593 h 336550"/>
                <a:gd name="connsiteX106" fmla="*/ 70522 w 293583"/>
                <a:gd name="connsiteY106" fmla="*/ 285279 h 336550"/>
                <a:gd name="connsiteX107" fmla="*/ 67891 w 293583"/>
                <a:gd name="connsiteY107" fmla="*/ 272132 h 336550"/>
                <a:gd name="connsiteX108" fmla="*/ 48154 w 293583"/>
                <a:gd name="connsiteY108" fmla="*/ 257671 h 336550"/>
                <a:gd name="connsiteX109" fmla="*/ 48154 w 293583"/>
                <a:gd name="connsiteY109" fmla="*/ 256356 h 336550"/>
                <a:gd name="connsiteX110" fmla="*/ 46838 w 293583"/>
                <a:gd name="connsiteY110" fmla="*/ 234007 h 336550"/>
                <a:gd name="connsiteX111" fmla="*/ 36312 w 293583"/>
                <a:gd name="connsiteY111" fmla="*/ 223490 h 336550"/>
                <a:gd name="connsiteX112" fmla="*/ 36312 w 293583"/>
                <a:gd name="connsiteY112" fmla="*/ 222176 h 336550"/>
                <a:gd name="connsiteX113" fmla="*/ 33681 w 293583"/>
                <a:gd name="connsiteY113" fmla="*/ 202456 h 336550"/>
                <a:gd name="connsiteX114" fmla="*/ 46838 w 293583"/>
                <a:gd name="connsiteY114" fmla="*/ 186680 h 336550"/>
                <a:gd name="connsiteX115" fmla="*/ 53417 w 293583"/>
                <a:gd name="connsiteY115" fmla="*/ 182736 h 336550"/>
                <a:gd name="connsiteX116" fmla="*/ 3418 w 293583"/>
                <a:gd name="connsiteY116" fmla="*/ 90711 h 336550"/>
                <a:gd name="connsiteX117" fmla="*/ 787 w 293583"/>
                <a:gd name="connsiteY117" fmla="*/ 70991 h 336550"/>
                <a:gd name="connsiteX118" fmla="*/ 13944 w 293583"/>
                <a:gd name="connsiteY118" fmla="*/ 55215 h 336550"/>
                <a:gd name="connsiteX119" fmla="*/ 108679 w 293583"/>
                <a:gd name="connsiteY119" fmla="*/ 2629 h 336550"/>
                <a:gd name="connsiteX120" fmla="*/ 121837 w 293583"/>
                <a:gd name="connsiteY120" fmla="*/ 0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93583" h="336550">
                  <a:moveTo>
                    <a:pt x="95356" y="263525"/>
                  </a:moveTo>
                  <a:cubicBezTo>
                    <a:pt x="95356" y="263525"/>
                    <a:pt x="95356" y="263525"/>
                    <a:pt x="89006" y="266065"/>
                  </a:cubicBezTo>
                  <a:cubicBezTo>
                    <a:pt x="87736" y="267335"/>
                    <a:pt x="86466" y="268605"/>
                    <a:pt x="85196" y="271145"/>
                  </a:cubicBezTo>
                  <a:cubicBezTo>
                    <a:pt x="85196" y="273685"/>
                    <a:pt x="85196" y="274955"/>
                    <a:pt x="86466" y="277495"/>
                  </a:cubicBezTo>
                  <a:cubicBezTo>
                    <a:pt x="86466" y="277495"/>
                    <a:pt x="86466" y="277495"/>
                    <a:pt x="86466" y="278765"/>
                  </a:cubicBezTo>
                  <a:cubicBezTo>
                    <a:pt x="87736" y="281305"/>
                    <a:pt x="91546" y="282575"/>
                    <a:pt x="94086" y="282575"/>
                  </a:cubicBezTo>
                  <a:cubicBezTo>
                    <a:pt x="95356" y="282575"/>
                    <a:pt x="96626" y="282575"/>
                    <a:pt x="97896" y="281305"/>
                  </a:cubicBezTo>
                  <a:lnTo>
                    <a:pt x="104246" y="278765"/>
                  </a:lnTo>
                  <a:cubicBezTo>
                    <a:pt x="104246" y="278765"/>
                    <a:pt x="104246" y="278765"/>
                    <a:pt x="95356" y="263525"/>
                  </a:cubicBezTo>
                  <a:close/>
                  <a:moveTo>
                    <a:pt x="194734" y="241300"/>
                  </a:moveTo>
                  <a:cubicBezTo>
                    <a:pt x="194734" y="241300"/>
                    <a:pt x="194734" y="241300"/>
                    <a:pt x="123296" y="278628"/>
                  </a:cubicBezTo>
                  <a:cubicBezTo>
                    <a:pt x="123296" y="278628"/>
                    <a:pt x="123296" y="278628"/>
                    <a:pt x="127265" y="285064"/>
                  </a:cubicBezTo>
                  <a:cubicBezTo>
                    <a:pt x="128588" y="287638"/>
                    <a:pt x="131233" y="288925"/>
                    <a:pt x="135202" y="288925"/>
                  </a:cubicBezTo>
                  <a:cubicBezTo>
                    <a:pt x="136525" y="288925"/>
                    <a:pt x="137848" y="288925"/>
                    <a:pt x="139171" y="287638"/>
                  </a:cubicBezTo>
                  <a:cubicBezTo>
                    <a:pt x="139171" y="287638"/>
                    <a:pt x="139171" y="287638"/>
                    <a:pt x="202671" y="254172"/>
                  </a:cubicBezTo>
                  <a:cubicBezTo>
                    <a:pt x="200025" y="250310"/>
                    <a:pt x="196057" y="246449"/>
                    <a:pt x="194734" y="241300"/>
                  </a:cubicBezTo>
                  <a:close/>
                  <a:moveTo>
                    <a:pt x="77894" y="230187"/>
                  </a:moveTo>
                  <a:cubicBezTo>
                    <a:pt x="77894" y="230187"/>
                    <a:pt x="77894" y="230187"/>
                    <a:pt x="71544" y="234156"/>
                  </a:cubicBezTo>
                  <a:cubicBezTo>
                    <a:pt x="71544" y="234156"/>
                    <a:pt x="71544" y="234156"/>
                    <a:pt x="66464" y="236802"/>
                  </a:cubicBezTo>
                  <a:cubicBezTo>
                    <a:pt x="62654" y="239448"/>
                    <a:pt x="61384" y="244739"/>
                    <a:pt x="62654" y="248708"/>
                  </a:cubicBezTo>
                  <a:cubicBezTo>
                    <a:pt x="62654" y="248708"/>
                    <a:pt x="62654" y="248708"/>
                    <a:pt x="63924" y="250031"/>
                  </a:cubicBezTo>
                  <a:cubicBezTo>
                    <a:pt x="65194" y="252677"/>
                    <a:pt x="67734" y="254000"/>
                    <a:pt x="71544" y="254000"/>
                  </a:cubicBezTo>
                  <a:cubicBezTo>
                    <a:pt x="72814" y="254000"/>
                    <a:pt x="74084" y="254000"/>
                    <a:pt x="75354" y="254000"/>
                  </a:cubicBezTo>
                  <a:cubicBezTo>
                    <a:pt x="75354" y="254000"/>
                    <a:pt x="75354" y="254000"/>
                    <a:pt x="80434" y="250031"/>
                  </a:cubicBezTo>
                  <a:cubicBezTo>
                    <a:pt x="80434" y="250031"/>
                    <a:pt x="80434" y="250031"/>
                    <a:pt x="86784" y="247385"/>
                  </a:cubicBezTo>
                  <a:cubicBezTo>
                    <a:pt x="86784" y="247385"/>
                    <a:pt x="86784" y="247385"/>
                    <a:pt x="77894" y="230187"/>
                  </a:cubicBezTo>
                  <a:close/>
                  <a:moveTo>
                    <a:pt x="61067" y="198437"/>
                  </a:moveTo>
                  <a:cubicBezTo>
                    <a:pt x="61067" y="198437"/>
                    <a:pt x="61067" y="198437"/>
                    <a:pt x="54187" y="202604"/>
                  </a:cubicBezTo>
                  <a:cubicBezTo>
                    <a:pt x="52811" y="202604"/>
                    <a:pt x="51436" y="205382"/>
                    <a:pt x="50060" y="206771"/>
                  </a:cubicBezTo>
                  <a:cubicBezTo>
                    <a:pt x="48684" y="209550"/>
                    <a:pt x="50060" y="212328"/>
                    <a:pt x="51436" y="215106"/>
                  </a:cubicBezTo>
                  <a:cubicBezTo>
                    <a:pt x="52811" y="217884"/>
                    <a:pt x="55563" y="220662"/>
                    <a:pt x="59691" y="220662"/>
                  </a:cubicBezTo>
                  <a:cubicBezTo>
                    <a:pt x="61067" y="220662"/>
                    <a:pt x="62443" y="220662"/>
                    <a:pt x="63818" y="219273"/>
                  </a:cubicBezTo>
                  <a:cubicBezTo>
                    <a:pt x="63818" y="219273"/>
                    <a:pt x="63818" y="219273"/>
                    <a:pt x="69322" y="216495"/>
                  </a:cubicBezTo>
                  <a:cubicBezTo>
                    <a:pt x="69322" y="216495"/>
                    <a:pt x="69322" y="216495"/>
                    <a:pt x="61067" y="198437"/>
                  </a:cubicBezTo>
                  <a:close/>
                  <a:moveTo>
                    <a:pt x="141011" y="42862"/>
                  </a:moveTo>
                  <a:cubicBezTo>
                    <a:pt x="141011" y="42862"/>
                    <a:pt x="141011" y="42862"/>
                    <a:pt x="29634" y="103643"/>
                  </a:cubicBezTo>
                  <a:cubicBezTo>
                    <a:pt x="29634" y="103643"/>
                    <a:pt x="29634" y="103643"/>
                    <a:pt x="116115" y="263525"/>
                  </a:cubicBezTo>
                  <a:cubicBezTo>
                    <a:pt x="116115" y="263525"/>
                    <a:pt x="116115" y="263525"/>
                    <a:pt x="190803" y="222564"/>
                  </a:cubicBezTo>
                  <a:cubicBezTo>
                    <a:pt x="190803" y="215957"/>
                    <a:pt x="190803" y="208029"/>
                    <a:pt x="193424" y="198780"/>
                  </a:cubicBezTo>
                  <a:cubicBezTo>
                    <a:pt x="193424" y="197458"/>
                    <a:pt x="193424" y="197458"/>
                    <a:pt x="193424" y="197458"/>
                  </a:cubicBezTo>
                  <a:cubicBezTo>
                    <a:pt x="194734" y="194816"/>
                    <a:pt x="194734" y="190852"/>
                    <a:pt x="194734" y="189530"/>
                  </a:cubicBezTo>
                  <a:cubicBezTo>
                    <a:pt x="193424" y="188209"/>
                    <a:pt x="190803" y="186888"/>
                    <a:pt x="185562" y="186888"/>
                  </a:cubicBezTo>
                  <a:cubicBezTo>
                    <a:pt x="176389" y="188209"/>
                    <a:pt x="159355" y="185566"/>
                    <a:pt x="152804" y="167068"/>
                  </a:cubicBezTo>
                  <a:cubicBezTo>
                    <a:pt x="147562" y="153854"/>
                    <a:pt x="158045" y="139319"/>
                    <a:pt x="177700" y="130070"/>
                  </a:cubicBezTo>
                  <a:cubicBezTo>
                    <a:pt x="180320" y="128749"/>
                    <a:pt x="182941" y="127428"/>
                    <a:pt x="185562" y="126106"/>
                  </a:cubicBezTo>
                  <a:cubicBezTo>
                    <a:pt x="185562" y="126106"/>
                    <a:pt x="185562" y="126106"/>
                    <a:pt x="141011" y="42862"/>
                  </a:cubicBezTo>
                  <a:close/>
                  <a:moveTo>
                    <a:pt x="120699" y="17462"/>
                  </a:moveTo>
                  <a:cubicBezTo>
                    <a:pt x="119382" y="17462"/>
                    <a:pt x="118065" y="18785"/>
                    <a:pt x="116748" y="18785"/>
                  </a:cubicBezTo>
                  <a:cubicBezTo>
                    <a:pt x="116748" y="18785"/>
                    <a:pt x="116748" y="18785"/>
                    <a:pt x="20614" y="70379"/>
                  </a:cubicBezTo>
                  <a:cubicBezTo>
                    <a:pt x="17980" y="71702"/>
                    <a:pt x="16663" y="74348"/>
                    <a:pt x="16663" y="75671"/>
                  </a:cubicBezTo>
                  <a:cubicBezTo>
                    <a:pt x="15346" y="78317"/>
                    <a:pt x="15346" y="80962"/>
                    <a:pt x="16663" y="82285"/>
                  </a:cubicBezTo>
                  <a:cubicBezTo>
                    <a:pt x="16663" y="82285"/>
                    <a:pt x="16663" y="82285"/>
                    <a:pt x="20614" y="88900"/>
                  </a:cubicBezTo>
                  <a:cubicBezTo>
                    <a:pt x="20614" y="88900"/>
                    <a:pt x="20614" y="88900"/>
                    <a:pt x="131234" y="29368"/>
                  </a:cubicBezTo>
                  <a:cubicBezTo>
                    <a:pt x="131234" y="29368"/>
                    <a:pt x="131234" y="29368"/>
                    <a:pt x="128600" y="22754"/>
                  </a:cubicBezTo>
                  <a:cubicBezTo>
                    <a:pt x="125966" y="20108"/>
                    <a:pt x="123332" y="17462"/>
                    <a:pt x="120699" y="17462"/>
                  </a:cubicBezTo>
                  <a:close/>
                  <a:moveTo>
                    <a:pt x="192839" y="5790"/>
                  </a:moveTo>
                  <a:cubicBezTo>
                    <a:pt x="198107" y="5790"/>
                    <a:pt x="202058" y="9712"/>
                    <a:pt x="202058" y="13634"/>
                  </a:cubicBezTo>
                  <a:cubicBezTo>
                    <a:pt x="202058" y="13634"/>
                    <a:pt x="202058" y="13634"/>
                    <a:pt x="202058" y="17556"/>
                  </a:cubicBezTo>
                  <a:cubicBezTo>
                    <a:pt x="224445" y="3175"/>
                    <a:pt x="256051" y="5790"/>
                    <a:pt x="275805" y="26707"/>
                  </a:cubicBezTo>
                  <a:cubicBezTo>
                    <a:pt x="299509" y="50240"/>
                    <a:pt x="299509" y="88153"/>
                    <a:pt x="275805" y="111685"/>
                  </a:cubicBezTo>
                  <a:cubicBezTo>
                    <a:pt x="274488" y="114300"/>
                    <a:pt x="271854" y="114300"/>
                    <a:pt x="270537" y="114300"/>
                  </a:cubicBezTo>
                  <a:cubicBezTo>
                    <a:pt x="267903" y="114300"/>
                    <a:pt x="265269" y="114300"/>
                    <a:pt x="263953" y="111685"/>
                  </a:cubicBezTo>
                  <a:cubicBezTo>
                    <a:pt x="260002" y="109071"/>
                    <a:pt x="260002" y="102534"/>
                    <a:pt x="263953" y="99919"/>
                  </a:cubicBezTo>
                  <a:cubicBezTo>
                    <a:pt x="281072" y="82924"/>
                    <a:pt x="281072" y="55469"/>
                    <a:pt x="263953" y="38474"/>
                  </a:cubicBezTo>
                  <a:cubicBezTo>
                    <a:pt x="256051" y="30629"/>
                    <a:pt x="244199" y="26707"/>
                    <a:pt x="233664" y="26707"/>
                  </a:cubicBezTo>
                  <a:cubicBezTo>
                    <a:pt x="225762" y="26707"/>
                    <a:pt x="219178" y="28015"/>
                    <a:pt x="213910" y="30629"/>
                  </a:cubicBezTo>
                  <a:cubicBezTo>
                    <a:pt x="213910" y="30629"/>
                    <a:pt x="213910" y="30629"/>
                    <a:pt x="217861" y="30629"/>
                  </a:cubicBezTo>
                  <a:cubicBezTo>
                    <a:pt x="223128" y="30629"/>
                    <a:pt x="227079" y="34551"/>
                    <a:pt x="227079" y="39781"/>
                  </a:cubicBezTo>
                  <a:cubicBezTo>
                    <a:pt x="227079" y="45010"/>
                    <a:pt x="223128" y="48932"/>
                    <a:pt x="217861" y="48932"/>
                  </a:cubicBezTo>
                  <a:cubicBezTo>
                    <a:pt x="217861" y="48932"/>
                    <a:pt x="217861" y="48932"/>
                    <a:pt x="192839" y="48932"/>
                  </a:cubicBezTo>
                  <a:cubicBezTo>
                    <a:pt x="187572" y="48932"/>
                    <a:pt x="183621" y="45010"/>
                    <a:pt x="183621" y="39781"/>
                  </a:cubicBezTo>
                  <a:cubicBezTo>
                    <a:pt x="183621" y="39781"/>
                    <a:pt x="183621" y="39781"/>
                    <a:pt x="183621" y="13634"/>
                  </a:cubicBezTo>
                  <a:cubicBezTo>
                    <a:pt x="183621" y="9712"/>
                    <a:pt x="187572" y="5790"/>
                    <a:pt x="192839" y="5790"/>
                  </a:cubicBezTo>
                  <a:close/>
                  <a:moveTo>
                    <a:pt x="121837" y="0"/>
                  </a:moveTo>
                  <a:cubicBezTo>
                    <a:pt x="131047" y="0"/>
                    <a:pt x="140258" y="5259"/>
                    <a:pt x="144205" y="13146"/>
                  </a:cubicBezTo>
                  <a:cubicBezTo>
                    <a:pt x="144205" y="13146"/>
                    <a:pt x="144205" y="13146"/>
                    <a:pt x="203415" y="120948"/>
                  </a:cubicBezTo>
                  <a:cubicBezTo>
                    <a:pt x="215257" y="118318"/>
                    <a:pt x="227099" y="119633"/>
                    <a:pt x="236309" y="123577"/>
                  </a:cubicBezTo>
                  <a:cubicBezTo>
                    <a:pt x="248151" y="128836"/>
                    <a:pt x="257361" y="139353"/>
                    <a:pt x="262624" y="153814"/>
                  </a:cubicBezTo>
                  <a:cubicBezTo>
                    <a:pt x="263940" y="155129"/>
                    <a:pt x="263940" y="157758"/>
                    <a:pt x="265256" y="160387"/>
                  </a:cubicBezTo>
                  <a:cubicBezTo>
                    <a:pt x="277098" y="191939"/>
                    <a:pt x="291571" y="236637"/>
                    <a:pt x="274466" y="281335"/>
                  </a:cubicBezTo>
                  <a:cubicBezTo>
                    <a:pt x="273150" y="285279"/>
                    <a:pt x="269203" y="286593"/>
                    <a:pt x="266572" y="286593"/>
                  </a:cubicBezTo>
                  <a:cubicBezTo>
                    <a:pt x="265256" y="286593"/>
                    <a:pt x="263940" y="286593"/>
                    <a:pt x="262624" y="286593"/>
                  </a:cubicBezTo>
                  <a:cubicBezTo>
                    <a:pt x="258677" y="285279"/>
                    <a:pt x="256045" y="280020"/>
                    <a:pt x="257361" y="274762"/>
                  </a:cubicBezTo>
                  <a:cubicBezTo>
                    <a:pt x="273150" y="235322"/>
                    <a:pt x="259993" y="197197"/>
                    <a:pt x="248151" y="165646"/>
                  </a:cubicBezTo>
                  <a:cubicBezTo>
                    <a:pt x="248151" y="164331"/>
                    <a:pt x="246835" y="161702"/>
                    <a:pt x="246835" y="159072"/>
                  </a:cubicBezTo>
                  <a:cubicBezTo>
                    <a:pt x="242888" y="149870"/>
                    <a:pt x="237625" y="143297"/>
                    <a:pt x="229730" y="139353"/>
                  </a:cubicBezTo>
                  <a:cubicBezTo>
                    <a:pt x="219204" y="135409"/>
                    <a:pt x="203415" y="136723"/>
                    <a:pt x="184994" y="145926"/>
                  </a:cubicBezTo>
                  <a:cubicBezTo>
                    <a:pt x="178415" y="148555"/>
                    <a:pt x="167889" y="156443"/>
                    <a:pt x="170520" y="161702"/>
                  </a:cubicBezTo>
                  <a:cubicBezTo>
                    <a:pt x="173152" y="170904"/>
                    <a:pt x="183678" y="169590"/>
                    <a:pt x="184994" y="169590"/>
                  </a:cubicBezTo>
                  <a:cubicBezTo>
                    <a:pt x="196836" y="169590"/>
                    <a:pt x="204731" y="172219"/>
                    <a:pt x="209994" y="180107"/>
                  </a:cubicBezTo>
                  <a:cubicBezTo>
                    <a:pt x="215257" y="189309"/>
                    <a:pt x="212625" y="199827"/>
                    <a:pt x="211309" y="202456"/>
                  </a:cubicBezTo>
                  <a:cubicBezTo>
                    <a:pt x="206046" y="226120"/>
                    <a:pt x="211309" y="241895"/>
                    <a:pt x="227099" y="251098"/>
                  </a:cubicBezTo>
                  <a:cubicBezTo>
                    <a:pt x="231046" y="252413"/>
                    <a:pt x="233677" y="257671"/>
                    <a:pt x="231046" y="262930"/>
                  </a:cubicBezTo>
                  <a:cubicBezTo>
                    <a:pt x="228414" y="266874"/>
                    <a:pt x="223151" y="268188"/>
                    <a:pt x="219204" y="266874"/>
                  </a:cubicBezTo>
                  <a:cubicBezTo>
                    <a:pt x="219204" y="265559"/>
                    <a:pt x="219204" y="265559"/>
                    <a:pt x="217888" y="265559"/>
                  </a:cubicBezTo>
                  <a:cubicBezTo>
                    <a:pt x="217888" y="265559"/>
                    <a:pt x="217888" y="265559"/>
                    <a:pt x="154731" y="299740"/>
                  </a:cubicBezTo>
                  <a:cubicBezTo>
                    <a:pt x="158679" y="306313"/>
                    <a:pt x="166573" y="315516"/>
                    <a:pt x="175783" y="319460"/>
                  </a:cubicBezTo>
                  <a:cubicBezTo>
                    <a:pt x="179731" y="322089"/>
                    <a:pt x="182362" y="327347"/>
                    <a:pt x="179731" y="331291"/>
                  </a:cubicBezTo>
                  <a:cubicBezTo>
                    <a:pt x="178415" y="335235"/>
                    <a:pt x="175783" y="336550"/>
                    <a:pt x="171836" y="336550"/>
                  </a:cubicBezTo>
                  <a:cubicBezTo>
                    <a:pt x="170520" y="336550"/>
                    <a:pt x="169205" y="336550"/>
                    <a:pt x="167889" y="335235"/>
                  </a:cubicBezTo>
                  <a:cubicBezTo>
                    <a:pt x="153415" y="328662"/>
                    <a:pt x="142889" y="314201"/>
                    <a:pt x="137626" y="306313"/>
                  </a:cubicBezTo>
                  <a:cubicBezTo>
                    <a:pt x="137626" y="306313"/>
                    <a:pt x="136311" y="306313"/>
                    <a:pt x="136311" y="306313"/>
                  </a:cubicBezTo>
                  <a:cubicBezTo>
                    <a:pt x="127100" y="306313"/>
                    <a:pt x="117890" y="302369"/>
                    <a:pt x="112627" y="294481"/>
                  </a:cubicBezTo>
                  <a:cubicBezTo>
                    <a:pt x="112627" y="294481"/>
                    <a:pt x="112627" y="294481"/>
                    <a:pt x="107364" y="297111"/>
                  </a:cubicBezTo>
                  <a:cubicBezTo>
                    <a:pt x="103416" y="299740"/>
                    <a:pt x="98153" y="301055"/>
                    <a:pt x="94206" y="301055"/>
                  </a:cubicBezTo>
                  <a:cubicBezTo>
                    <a:pt x="84996" y="301055"/>
                    <a:pt x="75785" y="295796"/>
                    <a:pt x="70522" y="286593"/>
                  </a:cubicBezTo>
                  <a:cubicBezTo>
                    <a:pt x="70522" y="286593"/>
                    <a:pt x="70522" y="286593"/>
                    <a:pt x="70522" y="285279"/>
                  </a:cubicBezTo>
                  <a:cubicBezTo>
                    <a:pt x="67891" y="281335"/>
                    <a:pt x="66575" y="276076"/>
                    <a:pt x="67891" y="272132"/>
                  </a:cubicBezTo>
                  <a:cubicBezTo>
                    <a:pt x="58680" y="270818"/>
                    <a:pt x="52102" y="265559"/>
                    <a:pt x="48154" y="257671"/>
                  </a:cubicBezTo>
                  <a:cubicBezTo>
                    <a:pt x="48154" y="257671"/>
                    <a:pt x="48154" y="257671"/>
                    <a:pt x="48154" y="256356"/>
                  </a:cubicBezTo>
                  <a:cubicBezTo>
                    <a:pt x="42891" y="249783"/>
                    <a:pt x="42891" y="240581"/>
                    <a:pt x="46838" y="234007"/>
                  </a:cubicBezTo>
                  <a:cubicBezTo>
                    <a:pt x="42891" y="231378"/>
                    <a:pt x="38944" y="227434"/>
                    <a:pt x="36312" y="223490"/>
                  </a:cubicBezTo>
                  <a:cubicBezTo>
                    <a:pt x="36312" y="223490"/>
                    <a:pt x="36312" y="223490"/>
                    <a:pt x="36312" y="222176"/>
                  </a:cubicBezTo>
                  <a:cubicBezTo>
                    <a:pt x="32365" y="215602"/>
                    <a:pt x="32365" y="209029"/>
                    <a:pt x="33681" y="202456"/>
                  </a:cubicBezTo>
                  <a:cubicBezTo>
                    <a:pt x="36312" y="195883"/>
                    <a:pt x="40260" y="189309"/>
                    <a:pt x="46838" y="186680"/>
                  </a:cubicBezTo>
                  <a:cubicBezTo>
                    <a:pt x="46838" y="186680"/>
                    <a:pt x="46838" y="186680"/>
                    <a:pt x="53417" y="182736"/>
                  </a:cubicBezTo>
                  <a:cubicBezTo>
                    <a:pt x="53417" y="182736"/>
                    <a:pt x="53417" y="182736"/>
                    <a:pt x="3418" y="90711"/>
                  </a:cubicBezTo>
                  <a:cubicBezTo>
                    <a:pt x="-529" y="84138"/>
                    <a:pt x="-529" y="77564"/>
                    <a:pt x="787" y="70991"/>
                  </a:cubicBezTo>
                  <a:cubicBezTo>
                    <a:pt x="3418" y="63103"/>
                    <a:pt x="7365" y="57845"/>
                    <a:pt x="13944" y="55215"/>
                  </a:cubicBezTo>
                  <a:cubicBezTo>
                    <a:pt x="13944" y="55215"/>
                    <a:pt x="13944" y="55215"/>
                    <a:pt x="108679" y="2629"/>
                  </a:cubicBezTo>
                  <a:cubicBezTo>
                    <a:pt x="112627" y="1315"/>
                    <a:pt x="116574" y="0"/>
                    <a:pt x="121837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8" name="ïSľïḋè" title="WSpneox6o6"/>
            <p:cNvSpPr/>
            <p:nvPr/>
          </p:nvSpPr>
          <p:spPr bwMode="auto">
            <a:xfrm>
              <a:off x="3981000" y="2730210"/>
              <a:ext cx="315000" cy="361102"/>
            </a:xfrm>
            <a:custGeom>
              <a:avLst/>
              <a:gdLst>
                <a:gd name="connsiteX0" fmla="*/ 95356 w 293583"/>
                <a:gd name="connsiteY0" fmla="*/ 263525 h 336550"/>
                <a:gd name="connsiteX1" fmla="*/ 89006 w 293583"/>
                <a:gd name="connsiteY1" fmla="*/ 266065 h 336550"/>
                <a:gd name="connsiteX2" fmla="*/ 85196 w 293583"/>
                <a:gd name="connsiteY2" fmla="*/ 271145 h 336550"/>
                <a:gd name="connsiteX3" fmla="*/ 86466 w 293583"/>
                <a:gd name="connsiteY3" fmla="*/ 277495 h 336550"/>
                <a:gd name="connsiteX4" fmla="*/ 86466 w 293583"/>
                <a:gd name="connsiteY4" fmla="*/ 278765 h 336550"/>
                <a:gd name="connsiteX5" fmla="*/ 94086 w 293583"/>
                <a:gd name="connsiteY5" fmla="*/ 282575 h 336550"/>
                <a:gd name="connsiteX6" fmla="*/ 97896 w 293583"/>
                <a:gd name="connsiteY6" fmla="*/ 281305 h 336550"/>
                <a:gd name="connsiteX7" fmla="*/ 104246 w 293583"/>
                <a:gd name="connsiteY7" fmla="*/ 278765 h 336550"/>
                <a:gd name="connsiteX8" fmla="*/ 95356 w 293583"/>
                <a:gd name="connsiteY8" fmla="*/ 263525 h 336550"/>
                <a:gd name="connsiteX9" fmla="*/ 194734 w 293583"/>
                <a:gd name="connsiteY9" fmla="*/ 241300 h 336550"/>
                <a:gd name="connsiteX10" fmla="*/ 123296 w 293583"/>
                <a:gd name="connsiteY10" fmla="*/ 278628 h 336550"/>
                <a:gd name="connsiteX11" fmla="*/ 127265 w 293583"/>
                <a:gd name="connsiteY11" fmla="*/ 285064 h 336550"/>
                <a:gd name="connsiteX12" fmla="*/ 135202 w 293583"/>
                <a:gd name="connsiteY12" fmla="*/ 288925 h 336550"/>
                <a:gd name="connsiteX13" fmla="*/ 139171 w 293583"/>
                <a:gd name="connsiteY13" fmla="*/ 287638 h 336550"/>
                <a:gd name="connsiteX14" fmla="*/ 202671 w 293583"/>
                <a:gd name="connsiteY14" fmla="*/ 254172 h 336550"/>
                <a:gd name="connsiteX15" fmla="*/ 194734 w 293583"/>
                <a:gd name="connsiteY15" fmla="*/ 241300 h 336550"/>
                <a:gd name="connsiteX16" fmla="*/ 77894 w 293583"/>
                <a:gd name="connsiteY16" fmla="*/ 230187 h 336550"/>
                <a:gd name="connsiteX17" fmla="*/ 71544 w 293583"/>
                <a:gd name="connsiteY17" fmla="*/ 234156 h 336550"/>
                <a:gd name="connsiteX18" fmla="*/ 66464 w 293583"/>
                <a:gd name="connsiteY18" fmla="*/ 236802 h 336550"/>
                <a:gd name="connsiteX19" fmla="*/ 62654 w 293583"/>
                <a:gd name="connsiteY19" fmla="*/ 248708 h 336550"/>
                <a:gd name="connsiteX20" fmla="*/ 63924 w 293583"/>
                <a:gd name="connsiteY20" fmla="*/ 250031 h 336550"/>
                <a:gd name="connsiteX21" fmla="*/ 71544 w 293583"/>
                <a:gd name="connsiteY21" fmla="*/ 254000 h 336550"/>
                <a:gd name="connsiteX22" fmla="*/ 75354 w 293583"/>
                <a:gd name="connsiteY22" fmla="*/ 254000 h 336550"/>
                <a:gd name="connsiteX23" fmla="*/ 80434 w 293583"/>
                <a:gd name="connsiteY23" fmla="*/ 250031 h 336550"/>
                <a:gd name="connsiteX24" fmla="*/ 86784 w 293583"/>
                <a:gd name="connsiteY24" fmla="*/ 247385 h 336550"/>
                <a:gd name="connsiteX25" fmla="*/ 77894 w 293583"/>
                <a:gd name="connsiteY25" fmla="*/ 230187 h 336550"/>
                <a:gd name="connsiteX26" fmla="*/ 61067 w 293583"/>
                <a:gd name="connsiteY26" fmla="*/ 198437 h 336550"/>
                <a:gd name="connsiteX27" fmla="*/ 54187 w 293583"/>
                <a:gd name="connsiteY27" fmla="*/ 202604 h 336550"/>
                <a:gd name="connsiteX28" fmla="*/ 50060 w 293583"/>
                <a:gd name="connsiteY28" fmla="*/ 206771 h 336550"/>
                <a:gd name="connsiteX29" fmla="*/ 51436 w 293583"/>
                <a:gd name="connsiteY29" fmla="*/ 215106 h 336550"/>
                <a:gd name="connsiteX30" fmla="*/ 59691 w 293583"/>
                <a:gd name="connsiteY30" fmla="*/ 220662 h 336550"/>
                <a:gd name="connsiteX31" fmla="*/ 63818 w 293583"/>
                <a:gd name="connsiteY31" fmla="*/ 219273 h 336550"/>
                <a:gd name="connsiteX32" fmla="*/ 69322 w 293583"/>
                <a:gd name="connsiteY32" fmla="*/ 216495 h 336550"/>
                <a:gd name="connsiteX33" fmla="*/ 61067 w 293583"/>
                <a:gd name="connsiteY33" fmla="*/ 198437 h 336550"/>
                <a:gd name="connsiteX34" fmla="*/ 141011 w 293583"/>
                <a:gd name="connsiteY34" fmla="*/ 42862 h 336550"/>
                <a:gd name="connsiteX35" fmla="*/ 29634 w 293583"/>
                <a:gd name="connsiteY35" fmla="*/ 103643 h 336550"/>
                <a:gd name="connsiteX36" fmla="*/ 116115 w 293583"/>
                <a:gd name="connsiteY36" fmla="*/ 263525 h 336550"/>
                <a:gd name="connsiteX37" fmla="*/ 190803 w 293583"/>
                <a:gd name="connsiteY37" fmla="*/ 222564 h 336550"/>
                <a:gd name="connsiteX38" fmla="*/ 193424 w 293583"/>
                <a:gd name="connsiteY38" fmla="*/ 198780 h 336550"/>
                <a:gd name="connsiteX39" fmla="*/ 193424 w 293583"/>
                <a:gd name="connsiteY39" fmla="*/ 197458 h 336550"/>
                <a:gd name="connsiteX40" fmla="*/ 194734 w 293583"/>
                <a:gd name="connsiteY40" fmla="*/ 189530 h 336550"/>
                <a:gd name="connsiteX41" fmla="*/ 185562 w 293583"/>
                <a:gd name="connsiteY41" fmla="*/ 186888 h 336550"/>
                <a:gd name="connsiteX42" fmla="*/ 152804 w 293583"/>
                <a:gd name="connsiteY42" fmla="*/ 167068 h 336550"/>
                <a:gd name="connsiteX43" fmla="*/ 177700 w 293583"/>
                <a:gd name="connsiteY43" fmla="*/ 130070 h 336550"/>
                <a:gd name="connsiteX44" fmla="*/ 185562 w 293583"/>
                <a:gd name="connsiteY44" fmla="*/ 126106 h 336550"/>
                <a:gd name="connsiteX45" fmla="*/ 141011 w 293583"/>
                <a:gd name="connsiteY45" fmla="*/ 42862 h 336550"/>
                <a:gd name="connsiteX46" fmla="*/ 120699 w 293583"/>
                <a:gd name="connsiteY46" fmla="*/ 17462 h 336550"/>
                <a:gd name="connsiteX47" fmla="*/ 116748 w 293583"/>
                <a:gd name="connsiteY47" fmla="*/ 18785 h 336550"/>
                <a:gd name="connsiteX48" fmla="*/ 20614 w 293583"/>
                <a:gd name="connsiteY48" fmla="*/ 70379 h 336550"/>
                <a:gd name="connsiteX49" fmla="*/ 16663 w 293583"/>
                <a:gd name="connsiteY49" fmla="*/ 75671 h 336550"/>
                <a:gd name="connsiteX50" fmla="*/ 16663 w 293583"/>
                <a:gd name="connsiteY50" fmla="*/ 82285 h 336550"/>
                <a:gd name="connsiteX51" fmla="*/ 20614 w 293583"/>
                <a:gd name="connsiteY51" fmla="*/ 88900 h 336550"/>
                <a:gd name="connsiteX52" fmla="*/ 131234 w 293583"/>
                <a:gd name="connsiteY52" fmla="*/ 29368 h 336550"/>
                <a:gd name="connsiteX53" fmla="*/ 128600 w 293583"/>
                <a:gd name="connsiteY53" fmla="*/ 22754 h 336550"/>
                <a:gd name="connsiteX54" fmla="*/ 120699 w 293583"/>
                <a:gd name="connsiteY54" fmla="*/ 17462 h 336550"/>
                <a:gd name="connsiteX55" fmla="*/ 192839 w 293583"/>
                <a:gd name="connsiteY55" fmla="*/ 5790 h 336550"/>
                <a:gd name="connsiteX56" fmla="*/ 202058 w 293583"/>
                <a:gd name="connsiteY56" fmla="*/ 13634 h 336550"/>
                <a:gd name="connsiteX57" fmla="*/ 202058 w 293583"/>
                <a:gd name="connsiteY57" fmla="*/ 17556 h 336550"/>
                <a:gd name="connsiteX58" fmla="*/ 275805 w 293583"/>
                <a:gd name="connsiteY58" fmla="*/ 26707 h 336550"/>
                <a:gd name="connsiteX59" fmla="*/ 275805 w 293583"/>
                <a:gd name="connsiteY59" fmla="*/ 111685 h 336550"/>
                <a:gd name="connsiteX60" fmla="*/ 270537 w 293583"/>
                <a:gd name="connsiteY60" fmla="*/ 114300 h 336550"/>
                <a:gd name="connsiteX61" fmla="*/ 263953 w 293583"/>
                <a:gd name="connsiteY61" fmla="*/ 111685 h 336550"/>
                <a:gd name="connsiteX62" fmla="*/ 263953 w 293583"/>
                <a:gd name="connsiteY62" fmla="*/ 99919 h 336550"/>
                <a:gd name="connsiteX63" fmla="*/ 263953 w 293583"/>
                <a:gd name="connsiteY63" fmla="*/ 38474 h 336550"/>
                <a:gd name="connsiteX64" fmla="*/ 233664 w 293583"/>
                <a:gd name="connsiteY64" fmla="*/ 26707 h 336550"/>
                <a:gd name="connsiteX65" fmla="*/ 213910 w 293583"/>
                <a:gd name="connsiteY65" fmla="*/ 30629 h 336550"/>
                <a:gd name="connsiteX66" fmla="*/ 217861 w 293583"/>
                <a:gd name="connsiteY66" fmla="*/ 30629 h 336550"/>
                <a:gd name="connsiteX67" fmla="*/ 227079 w 293583"/>
                <a:gd name="connsiteY67" fmla="*/ 39781 h 336550"/>
                <a:gd name="connsiteX68" fmla="*/ 217861 w 293583"/>
                <a:gd name="connsiteY68" fmla="*/ 48932 h 336550"/>
                <a:gd name="connsiteX69" fmla="*/ 192839 w 293583"/>
                <a:gd name="connsiteY69" fmla="*/ 48932 h 336550"/>
                <a:gd name="connsiteX70" fmla="*/ 183621 w 293583"/>
                <a:gd name="connsiteY70" fmla="*/ 39781 h 336550"/>
                <a:gd name="connsiteX71" fmla="*/ 183621 w 293583"/>
                <a:gd name="connsiteY71" fmla="*/ 13634 h 336550"/>
                <a:gd name="connsiteX72" fmla="*/ 192839 w 293583"/>
                <a:gd name="connsiteY72" fmla="*/ 5790 h 336550"/>
                <a:gd name="connsiteX73" fmla="*/ 121837 w 293583"/>
                <a:gd name="connsiteY73" fmla="*/ 0 h 336550"/>
                <a:gd name="connsiteX74" fmla="*/ 144205 w 293583"/>
                <a:gd name="connsiteY74" fmla="*/ 13146 h 336550"/>
                <a:gd name="connsiteX75" fmla="*/ 203415 w 293583"/>
                <a:gd name="connsiteY75" fmla="*/ 120948 h 336550"/>
                <a:gd name="connsiteX76" fmla="*/ 236309 w 293583"/>
                <a:gd name="connsiteY76" fmla="*/ 123577 h 336550"/>
                <a:gd name="connsiteX77" fmla="*/ 262624 w 293583"/>
                <a:gd name="connsiteY77" fmla="*/ 153814 h 336550"/>
                <a:gd name="connsiteX78" fmla="*/ 265256 w 293583"/>
                <a:gd name="connsiteY78" fmla="*/ 160387 h 336550"/>
                <a:gd name="connsiteX79" fmla="*/ 274466 w 293583"/>
                <a:gd name="connsiteY79" fmla="*/ 281335 h 336550"/>
                <a:gd name="connsiteX80" fmla="*/ 266572 w 293583"/>
                <a:gd name="connsiteY80" fmla="*/ 286593 h 336550"/>
                <a:gd name="connsiteX81" fmla="*/ 262624 w 293583"/>
                <a:gd name="connsiteY81" fmla="*/ 286593 h 336550"/>
                <a:gd name="connsiteX82" fmla="*/ 257361 w 293583"/>
                <a:gd name="connsiteY82" fmla="*/ 274762 h 336550"/>
                <a:gd name="connsiteX83" fmla="*/ 248151 w 293583"/>
                <a:gd name="connsiteY83" fmla="*/ 165646 h 336550"/>
                <a:gd name="connsiteX84" fmla="*/ 246835 w 293583"/>
                <a:gd name="connsiteY84" fmla="*/ 159072 h 336550"/>
                <a:gd name="connsiteX85" fmla="*/ 229730 w 293583"/>
                <a:gd name="connsiteY85" fmla="*/ 139353 h 336550"/>
                <a:gd name="connsiteX86" fmla="*/ 184994 w 293583"/>
                <a:gd name="connsiteY86" fmla="*/ 145926 h 336550"/>
                <a:gd name="connsiteX87" fmla="*/ 170520 w 293583"/>
                <a:gd name="connsiteY87" fmla="*/ 161702 h 336550"/>
                <a:gd name="connsiteX88" fmla="*/ 184994 w 293583"/>
                <a:gd name="connsiteY88" fmla="*/ 169590 h 336550"/>
                <a:gd name="connsiteX89" fmla="*/ 209994 w 293583"/>
                <a:gd name="connsiteY89" fmla="*/ 180107 h 336550"/>
                <a:gd name="connsiteX90" fmla="*/ 211309 w 293583"/>
                <a:gd name="connsiteY90" fmla="*/ 202456 h 336550"/>
                <a:gd name="connsiteX91" fmla="*/ 227099 w 293583"/>
                <a:gd name="connsiteY91" fmla="*/ 251098 h 336550"/>
                <a:gd name="connsiteX92" fmla="*/ 231046 w 293583"/>
                <a:gd name="connsiteY92" fmla="*/ 262930 h 336550"/>
                <a:gd name="connsiteX93" fmla="*/ 219204 w 293583"/>
                <a:gd name="connsiteY93" fmla="*/ 266874 h 336550"/>
                <a:gd name="connsiteX94" fmla="*/ 217888 w 293583"/>
                <a:gd name="connsiteY94" fmla="*/ 265559 h 336550"/>
                <a:gd name="connsiteX95" fmla="*/ 154731 w 293583"/>
                <a:gd name="connsiteY95" fmla="*/ 299740 h 336550"/>
                <a:gd name="connsiteX96" fmla="*/ 175783 w 293583"/>
                <a:gd name="connsiteY96" fmla="*/ 319460 h 336550"/>
                <a:gd name="connsiteX97" fmla="*/ 179731 w 293583"/>
                <a:gd name="connsiteY97" fmla="*/ 331291 h 336550"/>
                <a:gd name="connsiteX98" fmla="*/ 171836 w 293583"/>
                <a:gd name="connsiteY98" fmla="*/ 336550 h 336550"/>
                <a:gd name="connsiteX99" fmla="*/ 167889 w 293583"/>
                <a:gd name="connsiteY99" fmla="*/ 335235 h 336550"/>
                <a:gd name="connsiteX100" fmla="*/ 137626 w 293583"/>
                <a:gd name="connsiteY100" fmla="*/ 306313 h 336550"/>
                <a:gd name="connsiteX101" fmla="*/ 136311 w 293583"/>
                <a:gd name="connsiteY101" fmla="*/ 306313 h 336550"/>
                <a:gd name="connsiteX102" fmla="*/ 112627 w 293583"/>
                <a:gd name="connsiteY102" fmla="*/ 294481 h 336550"/>
                <a:gd name="connsiteX103" fmla="*/ 107364 w 293583"/>
                <a:gd name="connsiteY103" fmla="*/ 297111 h 336550"/>
                <a:gd name="connsiteX104" fmla="*/ 94206 w 293583"/>
                <a:gd name="connsiteY104" fmla="*/ 301055 h 336550"/>
                <a:gd name="connsiteX105" fmla="*/ 70522 w 293583"/>
                <a:gd name="connsiteY105" fmla="*/ 286593 h 336550"/>
                <a:gd name="connsiteX106" fmla="*/ 70522 w 293583"/>
                <a:gd name="connsiteY106" fmla="*/ 285279 h 336550"/>
                <a:gd name="connsiteX107" fmla="*/ 67891 w 293583"/>
                <a:gd name="connsiteY107" fmla="*/ 272132 h 336550"/>
                <a:gd name="connsiteX108" fmla="*/ 48154 w 293583"/>
                <a:gd name="connsiteY108" fmla="*/ 257671 h 336550"/>
                <a:gd name="connsiteX109" fmla="*/ 48154 w 293583"/>
                <a:gd name="connsiteY109" fmla="*/ 256356 h 336550"/>
                <a:gd name="connsiteX110" fmla="*/ 46838 w 293583"/>
                <a:gd name="connsiteY110" fmla="*/ 234007 h 336550"/>
                <a:gd name="connsiteX111" fmla="*/ 36312 w 293583"/>
                <a:gd name="connsiteY111" fmla="*/ 223490 h 336550"/>
                <a:gd name="connsiteX112" fmla="*/ 36312 w 293583"/>
                <a:gd name="connsiteY112" fmla="*/ 222176 h 336550"/>
                <a:gd name="connsiteX113" fmla="*/ 33681 w 293583"/>
                <a:gd name="connsiteY113" fmla="*/ 202456 h 336550"/>
                <a:gd name="connsiteX114" fmla="*/ 46838 w 293583"/>
                <a:gd name="connsiteY114" fmla="*/ 186680 h 336550"/>
                <a:gd name="connsiteX115" fmla="*/ 53417 w 293583"/>
                <a:gd name="connsiteY115" fmla="*/ 182736 h 336550"/>
                <a:gd name="connsiteX116" fmla="*/ 3418 w 293583"/>
                <a:gd name="connsiteY116" fmla="*/ 90711 h 336550"/>
                <a:gd name="connsiteX117" fmla="*/ 787 w 293583"/>
                <a:gd name="connsiteY117" fmla="*/ 70991 h 336550"/>
                <a:gd name="connsiteX118" fmla="*/ 13944 w 293583"/>
                <a:gd name="connsiteY118" fmla="*/ 55215 h 336550"/>
                <a:gd name="connsiteX119" fmla="*/ 108679 w 293583"/>
                <a:gd name="connsiteY119" fmla="*/ 2629 h 336550"/>
                <a:gd name="connsiteX120" fmla="*/ 121837 w 293583"/>
                <a:gd name="connsiteY120" fmla="*/ 0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93583" h="336550">
                  <a:moveTo>
                    <a:pt x="95356" y="263525"/>
                  </a:moveTo>
                  <a:cubicBezTo>
                    <a:pt x="95356" y="263525"/>
                    <a:pt x="95356" y="263525"/>
                    <a:pt x="89006" y="266065"/>
                  </a:cubicBezTo>
                  <a:cubicBezTo>
                    <a:pt x="87736" y="267335"/>
                    <a:pt x="86466" y="268605"/>
                    <a:pt x="85196" y="271145"/>
                  </a:cubicBezTo>
                  <a:cubicBezTo>
                    <a:pt x="85196" y="273685"/>
                    <a:pt x="85196" y="274955"/>
                    <a:pt x="86466" y="277495"/>
                  </a:cubicBezTo>
                  <a:cubicBezTo>
                    <a:pt x="86466" y="277495"/>
                    <a:pt x="86466" y="277495"/>
                    <a:pt x="86466" y="278765"/>
                  </a:cubicBezTo>
                  <a:cubicBezTo>
                    <a:pt x="87736" y="281305"/>
                    <a:pt x="91546" y="282575"/>
                    <a:pt x="94086" y="282575"/>
                  </a:cubicBezTo>
                  <a:cubicBezTo>
                    <a:pt x="95356" y="282575"/>
                    <a:pt x="96626" y="282575"/>
                    <a:pt x="97896" y="281305"/>
                  </a:cubicBezTo>
                  <a:lnTo>
                    <a:pt x="104246" y="278765"/>
                  </a:lnTo>
                  <a:cubicBezTo>
                    <a:pt x="104246" y="278765"/>
                    <a:pt x="104246" y="278765"/>
                    <a:pt x="95356" y="263525"/>
                  </a:cubicBezTo>
                  <a:close/>
                  <a:moveTo>
                    <a:pt x="194734" y="241300"/>
                  </a:moveTo>
                  <a:cubicBezTo>
                    <a:pt x="194734" y="241300"/>
                    <a:pt x="194734" y="241300"/>
                    <a:pt x="123296" y="278628"/>
                  </a:cubicBezTo>
                  <a:cubicBezTo>
                    <a:pt x="123296" y="278628"/>
                    <a:pt x="123296" y="278628"/>
                    <a:pt x="127265" y="285064"/>
                  </a:cubicBezTo>
                  <a:cubicBezTo>
                    <a:pt x="128588" y="287638"/>
                    <a:pt x="131233" y="288925"/>
                    <a:pt x="135202" y="288925"/>
                  </a:cubicBezTo>
                  <a:cubicBezTo>
                    <a:pt x="136525" y="288925"/>
                    <a:pt x="137848" y="288925"/>
                    <a:pt x="139171" y="287638"/>
                  </a:cubicBezTo>
                  <a:cubicBezTo>
                    <a:pt x="139171" y="287638"/>
                    <a:pt x="139171" y="287638"/>
                    <a:pt x="202671" y="254172"/>
                  </a:cubicBezTo>
                  <a:cubicBezTo>
                    <a:pt x="200025" y="250310"/>
                    <a:pt x="196057" y="246449"/>
                    <a:pt x="194734" y="241300"/>
                  </a:cubicBezTo>
                  <a:close/>
                  <a:moveTo>
                    <a:pt x="77894" y="230187"/>
                  </a:moveTo>
                  <a:cubicBezTo>
                    <a:pt x="77894" y="230187"/>
                    <a:pt x="77894" y="230187"/>
                    <a:pt x="71544" y="234156"/>
                  </a:cubicBezTo>
                  <a:cubicBezTo>
                    <a:pt x="71544" y="234156"/>
                    <a:pt x="71544" y="234156"/>
                    <a:pt x="66464" y="236802"/>
                  </a:cubicBezTo>
                  <a:cubicBezTo>
                    <a:pt x="62654" y="239448"/>
                    <a:pt x="61384" y="244739"/>
                    <a:pt x="62654" y="248708"/>
                  </a:cubicBezTo>
                  <a:cubicBezTo>
                    <a:pt x="62654" y="248708"/>
                    <a:pt x="62654" y="248708"/>
                    <a:pt x="63924" y="250031"/>
                  </a:cubicBezTo>
                  <a:cubicBezTo>
                    <a:pt x="65194" y="252677"/>
                    <a:pt x="67734" y="254000"/>
                    <a:pt x="71544" y="254000"/>
                  </a:cubicBezTo>
                  <a:cubicBezTo>
                    <a:pt x="72814" y="254000"/>
                    <a:pt x="74084" y="254000"/>
                    <a:pt x="75354" y="254000"/>
                  </a:cubicBezTo>
                  <a:cubicBezTo>
                    <a:pt x="75354" y="254000"/>
                    <a:pt x="75354" y="254000"/>
                    <a:pt x="80434" y="250031"/>
                  </a:cubicBezTo>
                  <a:cubicBezTo>
                    <a:pt x="80434" y="250031"/>
                    <a:pt x="80434" y="250031"/>
                    <a:pt x="86784" y="247385"/>
                  </a:cubicBezTo>
                  <a:cubicBezTo>
                    <a:pt x="86784" y="247385"/>
                    <a:pt x="86784" y="247385"/>
                    <a:pt x="77894" y="230187"/>
                  </a:cubicBezTo>
                  <a:close/>
                  <a:moveTo>
                    <a:pt x="61067" y="198437"/>
                  </a:moveTo>
                  <a:cubicBezTo>
                    <a:pt x="61067" y="198437"/>
                    <a:pt x="61067" y="198437"/>
                    <a:pt x="54187" y="202604"/>
                  </a:cubicBezTo>
                  <a:cubicBezTo>
                    <a:pt x="52811" y="202604"/>
                    <a:pt x="51436" y="205382"/>
                    <a:pt x="50060" y="206771"/>
                  </a:cubicBezTo>
                  <a:cubicBezTo>
                    <a:pt x="48684" y="209550"/>
                    <a:pt x="50060" y="212328"/>
                    <a:pt x="51436" y="215106"/>
                  </a:cubicBezTo>
                  <a:cubicBezTo>
                    <a:pt x="52811" y="217884"/>
                    <a:pt x="55563" y="220662"/>
                    <a:pt x="59691" y="220662"/>
                  </a:cubicBezTo>
                  <a:cubicBezTo>
                    <a:pt x="61067" y="220662"/>
                    <a:pt x="62443" y="220662"/>
                    <a:pt x="63818" y="219273"/>
                  </a:cubicBezTo>
                  <a:cubicBezTo>
                    <a:pt x="63818" y="219273"/>
                    <a:pt x="63818" y="219273"/>
                    <a:pt x="69322" y="216495"/>
                  </a:cubicBezTo>
                  <a:cubicBezTo>
                    <a:pt x="69322" y="216495"/>
                    <a:pt x="69322" y="216495"/>
                    <a:pt x="61067" y="198437"/>
                  </a:cubicBezTo>
                  <a:close/>
                  <a:moveTo>
                    <a:pt x="141011" y="42862"/>
                  </a:moveTo>
                  <a:cubicBezTo>
                    <a:pt x="141011" y="42862"/>
                    <a:pt x="141011" y="42862"/>
                    <a:pt x="29634" y="103643"/>
                  </a:cubicBezTo>
                  <a:cubicBezTo>
                    <a:pt x="29634" y="103643"/>
                    <a:pt x="29634" y="103643"/>
                    <a:pt x="116115" y="263525"/>
                  </a:cubicBezTo>
                  <a:cubicBezTo>
                    <a:pt x="116115" y="263525"/>
                    <a:pt x="116115" y="263525"/>
                    <a:pt x="190803" y="222564"/>
                  </a:cubicBezTo>
                  <a:cubicBezTo>
                    <a:pt x="190803" y="215957"/>
                    <a:pt x="190803" y="208029"/>
                    <a:pt x="193424" y="198780"/>
                  </a:cubicBezTo>
                  <a:cubicBezTo>
                    <a:pt x="193424" y="197458"/>
                    <a:pt x="193424" y="197458"/>
                    <a:pt x="193424" y="197458"/>
                  </a:cubicBezTo>
                  <a:cubicBezTo>
                    <a:pt x="194734" y="194816"/>
                    <a:pt x="194734" y="190852"/>
                    <a:pt x="194734" y="189530"/>
                  </a:cubicBezTo>
                  <a:cubicBezTo>
                    <a:pt x="193424" y="188209"/>
                    <a:pt x="190803" y="186888"/>
                    <a:pt x="185562" y="186888"/>
                  </a:cubicBezTo>
                  <a:cubicBezTo>
                    <a:pt x="176389" y="188209"/>
                    <a:pt x="159355" y="185566"/>
                    <a:pt x="152804" y="167068"/>
                  </a:cubicBezTo>
                  <a:cubicBezTo>
                    <a:pt x="147562" y="153854"/>
                    <a:pt x="158045" y="139319"/>
                    <a:pt x="177700" y="130070"/>
                  </a:cubicBezTo>
                  <a:cubicBezTo>
                    <a:pt x="180320" y="128749"/>
                    <a:pt x="182941" y="127428"/>
                    <a:pt x="185562" y="126106"/>
                  </a:cubicBezTo>
                  <a:cubicBezTo>
                    <a:pt x="185562" y="126106"/>
                    <a:pt x="185562" y="126106"/>
                    <a:pt x="141011" y="42862"/>
                  </a:cubicBezTo>
                  <a:close/>
                  <a:moveTo>
                    <a:pt x="120699" y="17462"/>
                  </a:moveTo>
                  <a:cubicBezTo>
                    <a:pt x="119382" y="17462"/>
                    <a:pt x="118065" y="18785"/>
                    <a:pt x="116748" y="18785"/>
                  </a:cubicBezTo>
                  <a:cubicBezTo>
                    <a:pt x="116748" y="18785"/>
                    <a:pt x="116748" y="18785"/>
                    <a:pt x="20614" y="70379"/>
                  </a:cubicBezTo>
                  <a:cubicBezTo>
                    <a:pt x="17980" y="71702"/>
                    <a:pt x="16663" y="74348"/>
                    <a:pt x="16663" y="75671"/>
                  </a:cubicBezTo>
                  <a:cubicBezTo>
                    <a:pt x="15346" y="78317"/>
                    <a:pt x="15346" y="80962"/>
                    <a:pt x="16663" y="82285"/>
                  </a:cubicBezTo>
                  <a:cubicBezTo>
                    <a:pt x="16663" y="82285"/>
                    <a:pt x="16663" y="82285"/>
                    <a:pt x="20614" y="88900"/>
                  </a:cubicBezTo>
                  <a:cubicBezTo>
                    <a:pt x="20614" y="88900"/>
                    <a:pt x="20614" y="88900"/>
                    <a:pt x="131234" y="29368"/>
                  </a:cubicBezTo>
                  <a:cubicBezTo>
                    <a:pt x="131234" y="29368"/>
                    <a:pt x="131234" y="29368"/>
                    <a:pt x="128600" y="22754"/>
                  </a:cubicBezTo>
                  <a:cubicBezTo>
                    <a:pt x="125966" y="20108"/>
                    <a:pt x="123332" y="17462"/>
                    <a:pt x="120699" y="17462"/>
                  </a:cubicBezTo>
                  <a:close/>
                  <a:moveTo>
                    <a:pt x="192839" y="5790"/>
                  </a:moveTo>
                  <a:cubicBezTo>
                    <a:pt x="198107" y="5790"/>
                    <a:pt x="202058" y="9712"/>
                    <a:pt x="202058" y="13634"/>
                  </a:cubicBezTo>
                  <a:cubicBezTo>
                    <a:pt x="202058" y="13634"/>
                    <a:pt x="202058" y="13634"/>
                    <a:pt x="202058" y="17556"/>
                  </a:cubicBezTo>
                  <a:cubicBezTo>
                    <a:pt x="224445" y="3175"/>
                    <a:pt x="256051" y="5790"/>
                    <a:pt x="275805" y="26707"/>
                  </a:cubicBezTo>
                  <a:cubicBezTo>
                    <a:pt x="299509" y="50240"/>
                    <a:pt x="299509" y="88153"/>
                    <a:pt x="275805" y="111685"/>
                  </a:cubicBezTo>
                  <a:cubicBezTo>
                    <a:pt x="274488" y="114300"/>
                    <a:pt x="271854" y="114300"/>
                    <a:pt x="270537" y="114300"/>
                  </a:cubicBezTo>
                  <a:cubicBezTo>
                    <a:pt x="267903" y="114300"/>
                    <a:pt x="265269" y="114300"/>
                    <a:pt x="263953" y="111685"/>
                  </a:cubicBezTo>
                  <a:cubicBezTo>
                    <a:pt x="260002" y="109071"/>
                    <a:pt x="260002" y="102534"/>
                    <a:pt x="263953" y="99919"/>
                  </a:cubicBezTo>
                  <a:cubicBezTo>
                    <a:pt x="281072" y="82924"/>
                    <a:pt x="281072" y="55469"/>
                    <a:pt x="263953" y="38474"/>
                  </a:cubicBezTo>
                  <a:cubicBezTo>
                    <a:pt x="256051" y="30629"/>
                    <a:pt x="244199" y="26707"/>
                    <a:pt x="233664" y="26707"/>
                  </a:cubicBezTo>
                  <a:cubicBezTo>
                    <a:pt x="225762" y="26707"/>
                    <a:pt x="219178" y="28015"/>
                    <a:pt x="213910" y="30629"/>
                  </a:cubicBezTo>
                  <a:cubicBezTo>
                    <a:pt x="213910" y="30629"/>
                    <a:pt x="213910" y="30629"/>
                    <a:pt x="217861" y="30629"/>
                  </a:cubicBezTo>
                  <a:cubicBezTo>
                    <a:pt x="223128" y="30629"/>
                    <a:pt x="227079" y="34551"/>
                    <a:pt x="227079" y="39781"/>
                  </a:cubicBezTo>
                  <a:cubicBezTo>
                    <a:pt x="227079" y="45010"/>
                    <a:pt x="223128" y="48932"/>
                    <a:pt x="217861" y="48932"/>
                  </a:cubicBezTo>
                  <a:cubicBezTo>
                    <a:pt x="217861" y="48932"/>
                    <a:pt x="217861" y="48932"/>
                    <a:pt x="192839" y="48932"/>
                  </a:cubicBezTo>
                  <a:cubicBezTo>
                    <a:pt x="187572" y="48932"/>
                    <a:pt x="183621" y="45010"/>
                    <a:pt x="183621" y="39781"/>
                  </a:cubicBezTo>
                  <a:cubicBezTo>
                    <a:pt x="183621" y="39781"/>
                    <a:pt x="183621" y="39781"/>
                    <a:pt x="183621" y="13634"/>
                  </a:cubicBezTo>
                  <a:cubicBezTo>
                    <a:pt x="183621" y="9712"/>
                    <a:pt x="187572" y="5790"/>
                    <a:pt x="192839" y="5790"/>
                  </a:cubicBezTo>
                  <a:close/>
                  <a:moveTo>
                    <a:pt x="121837" y="0"/>
                  </a:moveTo>
                  <a:cubicBezTo>
                    <a:pt x="131047" y="0"/>
                    <a:pt x="140258" y="5259"/>
                    <a:pt x="144205" y="13146"/>
                  </a:cubicBezTo>
                  <a:cubicBezTo>
                    <a:pt x="144205" y="13146"/>
                    <a:pt x="144205" y="13146"/>
                    <a:pt x="203415" y="120948"/>
                  </a:cubicBezTo>
                  <a:cubicBezTo>
                    <a:pt x="215257" y="118318"/>
                    <a:pt x="227099" y="119633"/>
                    <a:pt x="236309" y="123577"/>
                  </a:cubicBezTo>
                  <a:cubicBezTo>
                    <a:pt x="248151" y="128836"/>
                    <a:pt x="257361" y="139353"/>
                    <a:pt x="262624" y="153814"/>
                  </a:cubicBezTo>
                  <a:cubicBezTo>
                    <a:pt x="263940" y="155129"/>
                    <a:pt x="263940" y="157758"/>
                    <a:pt x="265256" y="160387"/>
                  </a:cubicBezTo>
                  <a:cubicBezTo>
                    <a:pt x="277098" y="191939"/>
                    <a:pt x="291571" y="236637"/>
                    <a:pt x="274466" y="281335"/>
                  </a:cubicBezTo>
                  <a:cubicBezTo>
                    <a:pt x="273150" y="285279"/>
                    <a:pt x="269203" y="286593"/>
                    <a:pt x="266572" y="286593"/>
                  </a:cubicBezTo>
                  <a:cubicBezTo>
                    <a:pt x="265256" y="286593"/>
                    <a:pt x="263940" y="286593"/>
                    <a:pt x="262624" y="286593"/>
                  </a:cubicBezTo>
                  <a:cubicBezTo>
                    <a:pt x="258677" y="285279"/>
                    <a:pt x="256045" y="280020"/>
                    <a:pt x="257361" y="274762"/>
                  </a:cubicBezTo>
                  <a:cubicBezTo>
                    <a:pt x="273150" y="235322"/>
                    <a:pt x="259993" y="197197"/>
                    <a:pt x="248151" y="165646"/>
                  </a:cubicBezTo>
                  <a:cubicBezTo>
                    <a:pt x="248151" y="164331"/>
                    <a:pt x="246835" y="161702"/>
                    <a:pt x="246835" y="159072"/>
                  </a:cubicBezTo>
                  <a:cubicBezTo>
                    <a:pt x="242888" y="149870"/>
                    <a:pt x="237625" y="143297"/>
                    <a:pt x="229730" y="139353"/>
                  </a:cubicBezTo>
                  <a:cubicBezTo>
                    <a:pt x="219204" y="135409"/>
                    <a:pt x="203415" y="136723"/>
                    <a:pt x="184994" y="145926"/>
                  </a:cubicBezTo>
                  <a:cubicBezTo>
                    <a:pt x="178415" y="148555"/>
                    <a:pt x="167889" y="156443"/>
                    <a:pt x="170520" y="161702"/>
                  </a:cubicBezTo>
                  <a:cubicBezTo>
                    <a:pt x="173152" y="170904"/>
                    <a:pt x="183678" y="169590"/>
                    <a:pt x="184994" y="169590"/>
                  </a:cubicBezTo>
                  <a:cubicBezTo>
                    <a:pt x="196836" y="169590"/>
                    <a:pt x="204731" y="172219"/>
                    <a:pt x="209994" y="180107"/>
                  </a:cubicBezTo>
                  <a:cubicBezTo>
                    <a:pt x="215257" y="189309"/>
                    <a:pt x="212625" y="199827"/>
                    <a:pt x="211309" y="202456"/>
                  </a:cubicBezTo>
                  <a:cubicBezTo>
                    <a:pt x="206046" y="226120"/>
                    <a:pt x="211309" y="241895"/>
                    <a:pt x="227099" y="251098"/>
                  </a:cubicBezTo>
                  <a:cubicBezTo>
                    <a:pt x="231046" y="252413"/>
                    <a:pt x="233677" y="257671"/>
                    <a:pt x="231046" y="262930"/>
                  </a:cubicBezTo>
                  <a:cubicBezTo>
                    <a:pt x="228414" y="266874"/>
                    <a:pt x="223151" y="268188"/>
                    <a:pt x="219204" y="266874"/>
                  </a:cubicBezTo>
                  <a:cubicBezTo>
                    <a:pt x="219204" y="265559"/>
                    <a:pt x="219204" y="265559"/>
                    <a:pt x="217888" y="265559"/>
                  </a:cubicBezTo>
                  <a:cubicBezTo>
                    <a:pt x="217888" y="265559"/>
                    <a:pt x="217888" y="265559"/>
                    <a:pt x="154731" y="299740"/>
                  </a:cubicBezTo>
                  <a:cubicBezTo>
                    <a:pt x="158679" y="306313"/>
                    <a:pt x="166573" y="315516"/>
                    <a:pt x="175783" y="319460"/>
                  </a:cubicBezTo>
                  <a:cubicBezTo>
                    <a:pt x="179731" y="322089"/>
                    <a:pt x="182362" y="327347"/>
                    <a:pt x="179731" y="331291"/>
                  </a:cubicBezTo>
                  <a:cubicBezTo>
                    <a:pt x="178415" y="335235"/>
                    <a:pt x="175783" y="336550"/>
                    <a:pt x="171836" y="336550"/>
                  </a:cubicBezTo>
                  <a:cubicBezTo>
                    <a:pt x="170520" y="336550"/>
                    <a:pt x="169205" y="336550"/>
                    <a:pt x="167889" y="335235"/>
                  </a:cubicBezTo>
                  <a:cubicBezTo>
                    <a:pt x="153415" y="328662"/>
                    <a:pt x="142889" y="314201"/>
                    <a:pt x="137626" y="306313"/>
                  </a:cubicBezTo>
                  <a:cubicBezTo>
                    <a:pt x="137626" y="306313"/>
                    <a:pt x="136311" y="306313"/>
                    <a:pt x="136311" y="306313"/>
                  </a:cubicBezTo>
                  <a:cubicBezTo>
                    <a:pt x="127100" y="306313"/>
                    <a:pt x="117890" y="302369"/>
                    <a:pt x="112627" y="294481"/>
                  </a:cubicBezTo>
                  <a:cubicBezTo>
                    <a:pt x="112627" y="294481"/>
                    <a:pt x="112627" y="294481"/>
                    <a:pt x="107364" y="297111"/>
                  </a:cubicBezTo>
                  <a:cubicBezTo>
                    <a:pt x="103416" y="299740"/>
                    <a:pt x="98153" y="301055"/>
                    <a:pt x="94206" y="301055"/>
                  </a:cubicBezTo>
                  <a:cubicBezTo>
                    <a:pt x="84996" y="301055"/>
                    <a:pt x="75785" y="295796"/>
                    <a:pt x="70522" y="286593"/>
                  </a:cubicBezTo>
                  <a:cubicBezTo>
                    <a:pt x="70522" y="286593"/>
                    <a:pt x="70522" y="286593"/>
                    <a:pt x="70522" y="285279"/>
                  </a:cubicBezTo>
                  <a:cubicBezTo>
                    <a:pt x="67891" y="281335"/>
                    <a:pt x="66575" y="276076"/>
                    <a:pt x="67891" y="272132"/>
                  </a:cubicBezTo>
                  <a:cubicBezTo>
                    <a:pt x="58680" y="270818"/>
                    <a:pt x="52102" y="265559"/>
                    <a:pt x="48154" y="257671"/>
                  </a:cubicBezTo>
                  <a:cubicBezTo>
                    <a:pt x="48154" y="257671"/>
                    <a:pt x="48154" y="257671"/>
                    <a:pt x="48154" y="256356"/>
                  </a:cubicBezTo>
                  <a:cubicBezTo>
                    <a:pt x="42891" y="249783"/>
                    <a:pt x="42891" y="240581"/>
                    <a:pt x="46838" y="234007"/>
                  </a:cubicBezTo>
                  <a:cubicBezTo>
                    <a:pt x="42891" y="231378"/>
                    <a:pt x="38944" y="227434"/>
                    <a:pt x="36312" y="223490"/>
                  </a:cubicBezTo>
                  <a:cubicBezTo>
                    <a:pt x="36312" y="223490"/>
                    <a:pt x="36312" y="223490"/>
                    <a:pt x="36312" y="222176"/>
                  </a:cubicBezTo>
                  <a:cubicBezTo>
                    <a:pt x="32365" y="215602"/>
                    <a:pt x="32365" y="209029"/>
                    <a:pt x="33681" y="202456"/>
                  </a:cubicBezTo>
                  <a:cubicBezTo>
                    <a:pt x="36312" y="195883"/>
                    <a:pt x="40260" y="189309"/>
                    <a:pt x="46838" y="186680"/>
                  </a:cubicBezTo>
                  <a:cubicBezTo>
                    <a:pt x="46838" y="186680"/>
                    <a:pt x="46838" y="186680"/>
                    <a:pt x="53417" y="182736"/>
                  </a:cubicBezTo>
                  <a:cubicBezTo>
                    <a:pt x="53417" y="182736"/>
                    <a:pt x="53417" y="182736"/>
                    <a:pt x="3418" y="90711"/>
                  </a:cubicBezTo>
                  <a:cubicBezTo>
                    <a:pt x="-529" y="84138"/>
                    <a:pt x="-529" y="77564"/>
                    <a:pt x="787" y="70991"/>
                  </a:cubicBezTo>
                  <a:cubicBezTo>
                    <a:pt x="3418" y="63103"/>
                    <a:pt x="7365" y="57845"/>
                    <a:pt x="13944" y="55215"/>
                  </a:cubicBezTo>
                  <a:cubicBezTo>
                    <a:pt x="13944" y="55215"/>
                    <a:pt x="13944" y="55215"/>
                    <a:pt x="108679" y="2629"/>
                  </a:cubicBezTo>
                  <a:cubicBezTo>
                    <a:pt x="112627" y="1315"/>
                    <a:pt x="116574" y="0"/>
                    <a:pt x="121837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</p:grpSp>
      <p:sp>
        <p:nvSpPr>
          <p:cNvPr id="28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2410626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2723179" y="-524427"/>
            <a:ext cx="6405581" cy="7786747"/>
            <a:chOff x="1478942" y="1316080"/>
            <a:chExt cx="2512613" cy="2432540"/>
          </a:xfrm>
        </p:grpSpPr>
        <p:sp>
          <p:nvSpPr>
            <p:cNvPr id="24" name="文本框 23"/>
            <p:cNvSpPr txBox="1"/>
            <p:nvPr/>
          </p:nvSpPr>
          <p:spPr>
            <a:xfrm>
              <a:off x="1886115" y="1316080"/>
              <a:ext cx="803059" cy="2432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50000" b="1" i="1" dirty="0">
                  <a:solidFill>
                    <a:srgbClr val="C00000"/>
                  </a:solidFill>
                  <a:latin typeface="阿里巴巴普惠体" panose="00020600040101010101" pitchFamily="18" charset="-122"/>
                  <a:ea typeface="阿里巴巴普惠体" panose="00020600040101010101" pitchFamily="18" charset="-122"/>
                </a:rPr>
                <a:t>4</a:t>
              </a:r>
              <a:endParaRPr kumimoji="0" lang="zh-CN" altLang="en-US" sz="500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</a:endParaRPr>
            </a:p>
          </p:txBody>
        </p:sp>
        <p:grpSp>
          <p:nvGrpSpPr>
            <p:cNvPr id="23" name="组合 22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10" name="直接连接符 9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箭头连接符 11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文本框 21"/>
              <p:cNvSpPr txBox="1"/>
              <p:nvPr/>
            </p:nvSpPr>
            <p:spPr>
              <a:xfrm>
                <a:off x="1886115" y="2595893"/>
                <a:ext cx="1885782" cy="124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di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+mn-cs"/>
                  </a:rPr>
                  <a:t>添加标题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278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9925" y="1130300"/>
            <a:ext cx="10848976" cy="4619337"/>
            <a:chOff x="669925" y="1130300"/>
            <a:chExt cx="10848976" cy="4619337"/>
          </a:xfrm>
        </p:grpSpPr>
        <p:sp>
          <p:nvSpPr>
            <p:cNvPr id="6" name="íṩlidê"/>
            <p:cNvSpPr/>
            <p:nvPr/>
          </p:nvSpPr>
          <p:spPr bwMode="auto">
            <a:xfrm>
              <a:off x="5291931" y="1931987"/>
              <a:ext cx="1701800" cy="1727200"/>
            </a:xfrm>
            <a:custGeom>
              <a:avLst/>
              <a:gdLst>
                <a:gd name="T0" fmla="*/ 415 w 453"/>
                <a:gd name="T1" fmla="*/ 229 h 459"/>
                <a:gd name="T2" fmla="*/ 444 w 453"/>
                <a:gd name="T3" fmla="*/ 195 h 459"/>
                <a:gd name="T4" fmla="*/ 449 w 453"/>
                <a:gd name="T5" fmla="*/ 174 h 459"/>
                <a:gd name="T6" fmla="*/ 432 w 453"/>
                <a:gd name="T7" fmla="*/ 165 h 459"/>
                <a:gd name="T8" fmla="*/ 398 w 453"/>
                <a:gd name="T9" fmla="*/ 151 h 459"/>
                <a:gd name="T10" fmla="*/ 387 w 453"/>
                <a:gd name="T11" fmla="*/ 131 h 459"/>
                <a:gd name="T12" fmla="*/ 406 w 453"/>
                <a:gd name="T13" fmla="*/ 86 h 459"/>
                <a:gd name="T14" fmla="*/ 388 w 453"/>
                <a:gd name="T15" fmla="*/ 81 h 459"/>
                <a:gd name="T16" fmla="*/ 345 w 453"/>
                <a:gd name="T17" fmla="*/ 83 h 459"/>
                <a:gd name="T18" fmla="*/ 331 w 453"/>
                <a:gd name="T19" fmla="*/ 61 h 459"/>
                <a:gd name="T20" fmla="*/ 334 w 453"/>
                <a:gd name="T21" fmla="*/ 26 h 459"/>
                <a:gd name="T22" fmla="*/ 308 w 453"/>
                <a:gd name="T23" fmla="*/ 25 h 459"/>
                <a:gd name="T24" fmla="*/ 276 w 453"/>
                <a:gd name="T25" fmla="*/ 48 h 459"/>
                <a:gd name="T26" fmla="*/ 255 w 453"/>
                <a:gd name="T27" fmla="*/ 43 h 459"/>
                <a:gd name="T28" fmla="*/ 238 w 453"/>
                <a:gd name="T29" fmla="*/ 0 h 459"/>
                <a:gd name="T30" fmla="*/ 214 w 453"/>
                <a:gd name="T31" fmla="*/ 0 h 459"/>
                <a:gd name="T32" fmla="*/ 188 w 453"/>
                <a:gd name="T33" fmla="*/ 45 h 459"/>
                <a:gd name="T34" fmla="*/ 172 w 453"/>
                <a:gd name="T35" fmla="*/ 49 h 459"/>
                <a:gd name="T36" fmla="*/ 138 w 453"/>
                <a:gd name="T37" fmla="*/ 17 h 459"/>
                <a:gd name="T38" fmla="*/ 117 w 453"/>
                <a:gd name="T39" fmla="*/ 28 h 459"/>
                <a:gd name="T40" fmla="*/ 125 w 453"/>
                <a:gd name="T41" fmla="*/ 71 h 459"/>
                <a:gd name="T42" fmla="*/ 106 w 453"/>
                <a:gd name="T43" fmla="*/ 84 h 459"/>
                <a:gd name="T44" fmla="*/ 57 w 453"/>
                <a:gd name="T45" fmla="*/ 78 h 459"/>
                <a:gd name="T46" fmla="*/ 42 w 453"/>
                <a:gd name="T47" fmla="*/ 93 h 459"/>
                <a:gd name="T48" fmla="*/ 64 w 453"/>
                <a:gd name="T49" fmla="*/ 133 h 459"/>
                <a:gd name="T50" fmla="*/ 51 w 453"/>
                <a:gd name="T51" fmla="*/ 160 h 459"/>
                <a:gd name="T52" fmla="*/ 16 w 453"/>
                <a:gd name="T53" fmla="*/ 166 h 459"/>
                <a:gd name="T54" fmla="*/ 3 w 453"/>
                <a:gd name="T55" fmla="*/ 178 h 459"/>
                <a:gd name="T56" fmla="*/ 30 w 453"/>
                <a:gd name="T57" fmla="*/ 206 h 459"/>
                <a:gd name="T58" fmla="*/ 38 w 453"/>
                <a:gd name="T59" fmla="*/ 233 h 459"/>
                <a:gd name="T60" fmla="*/ 0 w 453"/>
                <a:gd name="T61" fmla="*/ 268 h 459"/>
                <a:gd name="T62" fmla="*/ 4 w 453"/>
                <a:gd name="T63" fmla="*/ 287 h 459"/>
                <a:gd name="T64" fmla="*/ 27 w 453"/>
                <a:gd name="T65" fmla="*/ 293 h 459"/>
                <a:gd name="T66" fmla="*/ 57 w 453"/>
                <a:gd name="T67" fmla="*/ 311 h 459"/>
                <a:gd name="T68" fmla="*/ 59 w 453"/>
                <a:gd name="T69" fmla="*/ 336 h 459"/>
                <a:gd name="T70" fmla="*/ 50 w 453"/>
                <a:gd name="T71" fmla="*/ 376 h 459"/>
                <a:gd name="T72" fmla="*/ 85 w 453"/>
                <a:gd name="T73" fmla="*/ 369 h 459"/>
                <a:gd name="T74" fmla="*/ 109 w 453"/>
                <a:gd name="T75" fmla="*/ 377 h 459"/>
                <a:gd name="T76" fmla="*/ 120 w 453"/>
                <a:gd name="T77" fmla="*/ 410 h 459"/>
                <a:gd name="T78" fmla="*/ 127 w 453"/>
                <a:gd name="T79" fmla="*/ 436 h 459"/>
                <a:gd name="T80" fmla="*/ 152 w 453"/>
                <a:gd name="T81" fmla="*/ 426 h 459"/>
                <a:gd name="T82" fmla="*/ 179 w 453"/>
                <a:gd name="T83" fmla="*/ 412 h 459"/>
                <a:gd name="T84" fmla="*/ 204 w 453"/>
                <a:gd name="T85" fmla="*/ 416 h 459"/>
                <a:gd name="T86" fmla="*/ 218 w 453"/>
                <a:gd name="T87" fmla="*/ 459 h 459"/>
                <a:gd name="T88" fmla="*/ 242 w 453"/>
                <a:gd name="T89" fmla="*/ 449 h 459"/>
                <a:gd name="T90" fmla="*/ 268 w 453"/>
                <a:gd name="T91" fmla="*/ 413 h 459"/>
                <a:gd name="T92" fmla="*/ 287 w 453"/>
                <a:gd name="T93" fmla="*/ 408 h 459"/>
                <a:gd name="T94" fmla="*/ 316 w 453"/>
                <a:gd name="T95" fmla="*/ 441 h 459"/>
                <a:gd name="T96" fmla="*/ 337 w 453"/>
                <a:gd name="T97" fmla="*/ 431 h 459"/>
                <a:gd name="T98" fmla="*/ 333 w 453"/>
                <a:gd name="T99" fmla="*/ 385 h 459"/>
                <a:gd name="T100" fmla="*/ 354 w 453"/>
                <a:gd name="T101" fmla="*/ 368 h 459"/>
                <a:gd name="T102" fmla="*/ 398 w 453"/>
                <a:gd name="T103" fmla="*/ 382 h 459"/>
                <a:gd name="T104" fmla="*/ 413 w 453"/>
                <a:gd name="T105" fmla="*/ 363 h 459"/>
                <a:gd name="T106" fmla="*/ 390 w 453"/>
                <a:gd name="T107" fmla="*/ 323 h 459"/>
                <a:gd name="T108" fmla="*/ 404 w 453"/>
                <a:gd name="T109" fmla="*/ 293 h 459"/>
                <a:gd name="T110" fmla="*/ 447 w 453"/>
                <a:gd name="T111" fmla="*/ 292 h 459"/>
                <a:gd name="T112" fmla="*/ 451 w 453"/>
                <a:gd name="T113" fmla="*/ 276 h 459"/>
                <a:gd name="T114" fmla="*/ 226 w 453"/>
                <a:gd name="T115" fmla="*/ 368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3" h="459">
                  <a:moveTo>
                    <a:pt x="423" y="253"/>
                  </a:moveTo>
                  <a:cubicBezTo>
                    <a:pt x="420" y="252"/>
                    <a:pt x="417" y="250"/>
                    <a:pt x="414" y="249"/>
                  </a:cubicBezTo>
                  <a:cubicBezTo>
                    <a:pt x="414" y="247"/>
                    <a:pt x="414" y="245"/>
                    <a:pt x="414" y="243"/>
                  </a:cubicBezTo>
                  <a:cubicBezTo>
                    <a:pt x="415" y="239"/>
                    <a:pt x="415" y="235"/>
                    <a:pt x="415" y="233"/>
                  </a:cubicBezTo>
                  <a:cubicBezTo>
                    <a:pt x="415" y="231"/>
                    <a:pt x="415" y="229"/>
                    <a:pt x="415" y="229"/>
                  </a:cubicBezTo>
                  <a:cubicBezTo>
                    <a:pt x="415" y="229"/>
                    <a:pt x="415" y="228"/>
                    <a:pt x="415" y="226"/>
                  </a:cubicBezTo>
                  <a:cubicBezTo>
                    <a:pt x="415" y="223"/>
                    <a:pt x="415" y="220"/>
                    <a:pt x="414" y="216"/>
                  </a:cubicBezTo>
                  <a:cubicBezTo>
                    <a:pt x="414" y="214"/>
                    <a:pt x="414" y="212"/>
                    <a:pt x="414" y="210"/>
                  </a:cubicBezTo>
                  <a:cubicBezTo>
                    <a:pt x="417" y="209"/>
                    <a:pt x="420" y="207"/>
                    <a:pt x="423" y="206"/>
                  </a:cubicBezTo>
                  <a:cubicBezTo>
                    <a:pt x="431" y="202"/>
                    <a:pt x="438" y="198"/>
                    <a:pt x="444" y="195"/>
                  </a:cubicBezTo>
                  <a:cubicBezTo>
                    <a:pt x="449" y="192"/>
                    <a:pt x="453" y="190"/>
                    <a:pt x="453" y="190"/>
                  </a:cubicBezTo>
                  <a:cubicBezTo>
                    <a:pt x="453" y="190"/>
                    <a:pt x="452" y="189"/>
                    <a:pt x="452" y="187"/>
                  </a:cubicBezTo>
                  <a:cubicBezTo>
                    <a:pt x="452" y="185"/>
                    <a:pt x="452" y="184"/>
                    <a:pt x="451" y="183"/>
                  </a:cubicBezTo>
                  <a:cubicBezTo>
                    <a:pt x="451" y="181"/>
                    <a:pt x="451" y="180"/>
                    <a:pt x="450" y="178"/>
                  </a:cubicBezTo>
                  <a:cubicBezTo>
                    <a:pt x="450" y="177"/>
                    <a:pt x="450" y="175"/>
                    <a:pt x="449" y="174"/>
                  </a:cubicBezTo>
                  <a:cubicBezTo>
                    <a:pt x="449" y="173"/>
                    <a:pt x="449" y="173"/>
                    <a:pt x="449" y="172"/>
                  </a:cubicBezTo>
                  <a:cubicBezTo>
                    <a:pt x="449" y="171"/>
                    <a:pt x="448" y="171"/>
                    <a:pt x="448" y="170"/>
                  </a:cubicBezTo>
                  <a:cubicBezTo>
                    <a:pt x="448" y="168"/>
                    <a:pt x="447" y="166"/>
                    <a:pt x="447" y="166"/>
                  </a:cubicBezTo>
                  <a:cubicBezTo>
                    <a:pt x="447" y="166"/>
                    <a:pt x="443" y="166"/>
                    <a:pt x="437" y="166"/>
                  </a:cubicBezTo>
                  <a:cubicBezTo>
                    <a:pt x="435" y="166"/>
                    <a:pt x="434" y="166"/>
                    <a:pt x="432" y="165"/>
                  </a:cubicBezTo>
                  <a:cubicBezTo>
                    <a:pt x="430" y="165"/>
                    <a:pt x="428" y="165"/>
                    <a:pt x="426" y="165"/>
                  </a:cubicBezTo>
                  <a:cubicBezTo>
                    <a:pt x="422" y="165"/>
                    <a:pt x="418" y="165"/>
                    <a:pt x="414" y="165"/>
                  </a:cubicBezTo>
                  <a:cubicBezTo>
                    <a:pt x="411" y="165"/>
                    <a:pt x="407" y="165"/>
                    <a:pt x="404" y="166"/>
                  </a:cubicBezTo>
                  <a:cubicBezTo>
                    <a:pt x="403" y="163"/>
                    <a:pt x="402" y="162"/>
                    <a:pt x="402" y="160"/>
                  </a:cubicBezTo>
                  <a:cubicBezTo>
                    <a:pt x="400" y="156"/>
                    <a:pt x="399" y="153"/>
                    <a:pt x="398" y="151"/>
                  </a:cubicBezTo>
                  <a:cubicBezTo>
                    <a:pt x="397" y="149"/>
                    <a:pt x="396" y="148"/>
                    <a:pt x="396" y="148"/>
                  </a:cubicBezTo>
                  <a:cubicBezTo>
                    <a:pt x="396" y="148"/>
                    <a:pt x="396" y="146"/>
                    <a:pt x="395" y="144"/>
                  </a:cubicBezTo>
                  <a:cubicBezTo>
                    <a:pt x="394" y="142"/>
                    <a:pt x="392" y="139"/>
                    <a:pt x="390" y="136"/>
                  </a:cubicBezTo>
                  <a:cubicBezTo>
                    <a:pt x="390" y="135"/>
                    <a:pt x="389" y="134"/>
                    <a:pt x="389" y="133"/>
                  </a:cubicBezTo>
                  <a:cubicBezTo>
                    <a:pt x="388" y="132"/>
                    <a:pt x="387" y="131"/>
                    <a:pt x="387" y="131"/>
                  </a:cubicBezTo>
                  <a:cubicBezTo>
                    <a:pt x="389" y="128"/>
                    <a:pt x="391" y="125"/>
                    <a:pt x="394" y="123"/>
                  </a:cubicBezTo>
                  <a:cubicBezTo>
                    <a:pt x="399" y="116"/>
                    <a:pt x="404" y="110"/>
                    <a:pt x="407" y="105"/>
                  </a:cubicBezTo>
                  <a:cubicBezTo>
                    <a:pt x="411" y="99"/>
                    <a:pt x="413" y="96"/>
                    <a:pt x="413" y="96"/>
                  </a:cubicBezTo>
                  <a:cubicBezTo>
                    <a:pt x="413" y="96"/>
                    <a:pt x="412" y="95"/>
                    <a:pt x="411" y="93"/>
                  </a:cubicBezTo>
                  <a:cubicBezTo>
                    <a:pt x="410" y="91"/>
                    <a:pt x="408" y="89"/>
                    <a:pt x="406" y="86"/>
                  </a:cubicBezTo>
                  <a:cubicBezTo>
                    <a:pt x="405" y="85"/>
                    <a:pt x="404" y="84"/>
                    <a:pt x="403" y="83"/>
                  </a:cubicBezTo>
                  <a:cubicBezTo>
                    <a:pt x="402" y="82"/>
                    <a:pt x="401" y="81"/>
                    <a:pt x="401" y="80"/>
                  </a:cubicBezTo>
                  <a:cubicBezTo>
                    <a:pt x="399" y="78"/>
                    <a:pt x="398" y="77"/>
                    <a:pt x="398" y="77"/>
                  </a:cubicBezTo>
                  <a:cubicBezTo>
                    <a:pt x="398" y="77"/>
                    <a:pt x="397" y="77"/>
                    <a:pt x="395" y="78"/>
                  </a:cubicBezTo>
                  <a:cubicBezTo>
                    <a:pt x="394" y="79"/>
                    <a:pt x="391" y="79"/>
                    <a:pt x="388" y="81"/>
                  </a:cubicBezTo>
                  <a:cubicBezTo>
                    <a:pt x="383" y="83"/>
                    <a:pt x="375" y="87"/>
                    <a:pt x="368" y="90"/>
                  </a:cubicBezTo>
                  <a:cubicBezTo>
                    <a:pt x="365" y="92"/>
                    <a:pt x="361" y="93"/>
                    <a:pt x="359" y="95"/>
                  </a:cubicBezTo>
                  <a:cubicBezTo>
                    <a:pt x="357" y="93"/>
                    <a:pt x="355" y="92"/>
                    <a:pt x="354" y="91"/>
                  </a:cubicBezTo>
                  <a:cubicBezTo>
                    <a:pt x="351" y="88"/>
                    <a:pt x="348" y="86"/>
                    <a:pt x="347" y="84"/>
                  </a:cubicBezTo>
                  <a:cubicBezTo>
                    <a:pt x="346" y="84"/>
                    <a:pt x="345" y="83"/>
                    <a:pt x="345" y="83"/>
                  </a:cubicBezTo>
                  <a:cubicBezTo>
                    <a:pt x="344" y="82"/>
                    <a:pt x="344" y="82"/>
                    <a:pt x="344" y="82"/>
                  </a:cubicBezTo>
                  <a:cubicBezTo>
                    <a:pt x="344" y="82"/>
                    <a:pt x="343" y="81"/>
                    <a:pt x="341" y="80"/>
                  </a:cubicBezTo>
                  <a:cubicBezTo>
                    <a:pt x="339" y="78"/>
                    <a:pt x="337" y="77"/>
                    <a:pt x="333" y="74"/>
                  </a:cubicBezTo>
                  <a:cubicBezTo>
                    <a:pt x="332" y="73"/>
                    <a:pt x="330" y="72"/>
                    <a:pt x="328" y="71"/>
                  </a:cubicBezTo>
                  <a:cubicBezTo>
                    <a:pt x="329" y="67"/>
                    <a:pt x="330" y="64"/>
                    <a:pt x="331" y="61"/>
                  </a:cubicBezTo>
                  <a:cubicBezTo>
                    <a:pt x="332" y="57"/>
                    <a:pt x="333" y="53"/>
                    <a:pt x="333" y="49"/>
                  </a:cubicBezTo>
                  <a:cubicBezTo>
                    <a:pt x="334" y="45"/>
                    <a:pt x="335" y="41"/>
                    <a:pt x="335" y="38"/>
                  </a:cubicBezTo>
                  <a:cubicBezTo>
                    <a:pt x="336" y="32"/>
                    <a:pt x="337" y="28"/>
                    <a:pt x="337" y="28"/>
                  </a:cubicBezTo>
                  <a:cubicBezTo>
                    <a:pt x="337" y="28"/>
                    <a:pt x="337" y="28"/>
                    <a:pt x="336" y="28"/>
                  </a:cubicBezTo>
                  <a:cubicBezTo>
                    <a:pt x="335" y="27"/>
                    <a:pt x="335" y="27"/>
                    <a:pt x="334" y="26"/>
                  </a:cubicBezTo>
                  <a:cubicBezTo>
                    <a:pt x="332" y="25"/>
                    <a:pt x="329" y="24"/>
                    <a:pt x="326" y="22"/>
                  </a:cubicBezTo>
                  <a:cubicBezTo>
                    <a:pt x="323" y="21"/>
                    <a:pt x="321" y="20"/>
                    <a:pt x="318" y="19"/>
                  </a:cubicBezTo>
                  <a:cubicBezTo>
                    <a:pt x="317" y="18"/>
                    <a:pt x="317" y="18"/>
                    <a:pt x="316" y="18"/>
                  </a:cubicBezTo>
                  <a:cubicBezTo>
                    <a:pt x="315" y="18"/>
                    <a:pt x="315" y="17"/>
                    <a:pt x="315" y="17"/>
                  </a:cubicBezTo>
                  <a:cubicBezTo>
                    <a:pt x="315" y="17"/>
                    <a:pt x="312" y="20"/>
                    <a:pt x="308" y="25"/>
                  </a:cubicBezTo>
                  <a:cubicBezTo>
                    <a:pt x="306" y="28"/>
                    <a:pt x="303" y="30"/>
                    <a:pt x="301" y="33"/>
                  </a:cubicBezTo>
                  <a:cubicBezTo>
                    <a:pt x="298" y="36"/>
                    <a:pt x="296" y="39"/>
                    <a:pt x="293" y="43"/>
                  </a:cubicBezTo>
                  <a:cubicBezTo>
                    <a:pt x="291" y="45"/>
                    <a:pt x="289" y="48"/>
                    <a:pt x="287" y="51"/>
                  </a:cubicBezTo>
                  <a:cubicBezTo>
                    <a:pt x="285" y="50"/>
                    <a:pt x="283" y="50"/>
                    <a:pt x="281" y="49"/>
                  </a:cubicBezTo>
                  <a:cubicBezTo>
                    <a:pt x="279" y="48"/>
                    <a:pt x="277" y="48"/>
                    <a:pt x="276" y="48"/>
                  </a:cubicBezTo>
                  <a:cubicBezTo>
                    <a:pt x="275" y="47"/>
                    <a:pt x="274" y="47"/>
                    <a:pt x="274" y="47"/>
                  </a:cubicBezTo>
                  <a:cubicBezTo>
                    <a:pt x="273" y="47"/>
                    <a:pt x="272" y="47"/>
                    <a:pt x="272" y="47"/>
                  </a:cubicBezTo>
                  <a:cubicBezTo>
                    <a:pt x="270" y="46"/>
                    <a:pt x="268" y="46"/>
                    <a:pt x="268" y="46"/>
                  </a:cubicBezTo>
                  <a:cubicBezTo>
                    <a:pt x="268" y="46"/>
                    <a:pt x="267" y="45"/>
                    <a:pt x="265" y="45"/>
                  </a:cubicBezTo>
                  <a:cubicBezTo>
                    <a:pt x="263" y="44"/>
                    <a:pt x="259" y="44"/>
                    <a:pt x="255" y="43"/>
                  </a:cubicBezTo>
                  <a:cubicBezTo>
                    <a:pt x="253" y="43"/>
                    <a:pt x="251" y="43"/>
                    <a:pt x="249" y="42"/>
                  </a:cubicBezTo>
                  <a:cubicBezTo>
                    <a:pt x="249" y="39"/>
                    <a:pt x="248" y="36"/>
                    <a:pt x="247" y="32"/>
                  </a:cubicBezTo>
                  <a:cubicBezTo>
                    <a:pt x="245" y="24"/>
                    <a:pt x="243" y="16"/>
                    <a:pt x="242" y="10"/>
                  </a:cubicBezTo>
                  <a:cubicBezTo>
                    <a:pt x="240" y="4"/>
                    <a:pt x="239" y="0"/>
                    <a:pt x="239" y="0"/>
                  </a:cubicBezTo>
                  <a:cubicBezTo>
                    <a:pt x="239" y="0"/>
                    <a:pt x="238" y="0"/>
                    <a:pt x="238" y="0"/>
                  </a:cubicBezTo>
                  <a:cubicBezTo>
                    <a:pt x="237" y="0"/>
                    <a:pt x="236" y="0"/>
                    <a:pt x="235" y="0"/>
                  </a:cubicBezTo>
                  <a:cubicBezTo>
                    <a:pt x="233" y="0"/>
                    <a:pt x="229" y="0"/>
                    <a:pt x="226" y="0"/>
                  </a:cubicBezTo>
                  <a:cubicBezTo>
                    <a:pt x="223" y="0"/>
                    <a:pt x="220" y="0"/>
                    <a:pt x="218" y="0"/>
                  </a:cubicBezTo>
                  <a:cubicBezTo>
                    <a:pt x="217" y="0"/>
                    <a:pt x="216" y="0"/>
                    <a:pt x="215" y="0"/>
                  </a:cubicBezTo>
                  <a:cubicBezTo>
                    <a:pt x="215" y="0"/>
                    <a:pt x="214" y="0"/>
                    <a:pt x="214" y="0"/>
                  </a:cubicBezTo>
                  <a:cubicBezTo>
                    <a:pt x="214" y="0"/>
                    <a:pt x="213" y="4"/>
                    <a:pt x="211" y="10"/>
                  </a:cubicBezTo>
                  <a:cubicBezTo>
                    <a:pt x="210" y="16"/>
                    <a:pt x="207" y="24"/>
                    <a:pt x="206" y="32"/>
                  </a:cubicBezTo>
                  <a:cubicBezTo>
                    <a:pt x="205" y="36"/>
                    <a:pt x="204" y="39"/>
                    <a:pt x="204" y="42"/>
                  </a:cubicBezTo>
                  <a:cubicBezTo>
                    <a:pt x="202" y="43"/>
                    <a:pt x="199" y="43"/>
                    <a:pt x="197" y="43"/>
                  </a:cubicBezTo>
                  <a:cubicBezTo>
                    <a:pt x="194" y="44"/>
                    <a:pt x="190" y="44"/>
                    <a:pt x="188" y="45"/>
                  </a:cubicBezTo>
                  <a:cubicBezTo>
                    <a:pt x="186" y="45"/>
                    <a:pt x="185" y="46"/>
                    <a:pt x="185" y="46"/>
                  </a:cubicBezTo>
                  <a:cubicBezTo>
                    <a:pt x="185" y="46"/>
                    <a:pt x="183" y="46"/>
                    <a:pt x="181" y="47"/>
                  </a:cubicBezTo>
                  <a:cubicBezTo>
                    <a:pt x="180" y="47"/>
                    <a:pt x="180" y="47"/>
                    <a:pt x="179" y="47"/>
                  </a:cubicBezTo>
                  <a:cubicBezTo>
                    <a:pt x="178" y="47"/>
                    <a:pt x="178" y="47"/>
                    <a:pt x="177" y="48"/>
                  </a:cubicBezTo>
                  <a:cubicBezTo>
                    <a:pt x="175" y="48"/>
                    <a:pt x="174" y="48"/>
                    <a:pt x="172" y="49"/>
                  </a:cubicBezTo>
                  <a:cubicBezTo>
                    <a:pt x="170" y="50"/>
                    <a:pt x="168" y="50"/>
                    <a:pt x="166" y="51"/>
                  </a:cubicBezTo>
                  <a:cubicBezTo>
                    <a:pt x="164" y="48"/>
                    <a:pt x="162" y="45"/>
                    <a:pt x="160" y="43"/>
                  </a:cubicBezTo>
                  <a:cubicBezTo>
                    <a:pt x="157" y="39"/>
                    <a:pt x="154" y="36"/>
                    <a:pt x="152" y="33"/>
                  </a:cubicBezTo>
                  <a:cubicBezTo>
                    <a:pt x="149" y="30"/>
                    <a:pt x="147" y="28"/>
                    <a:pt x="145" y="25"/>
                  </a:cubicBezTo>
                  <a:cubicBezTo>
                    <a:pt x="141" y="20"/>
                    <a:pt x="138" y="17"/>
                    <a:pt x="138" y="17"/>
                  </a:cubicBezTo>
                  <a:cubicBezTo>
                    <a:pt x="138" y="17"/>
                    <a:pt x="138" y="18"/>
                    <a:pt x="137" y="18"/>
                  </a:cubicBezTo>
                  <a:cubicBezTo>
                    <a:pt x="136" y="18"/>
                    <a:pt x="135" y="18"/>
                    <a:pt x="134" y="19"/>
                  </a:cubicBezTo>
                  <a:cubicBezTo>
                    <a:pt x="132" y="20"/>
                    <a:pt x="130" y="21"/>
                    <a:pt x="127" y="22"/>
                  </a:cubicBezTo>
                  <a:cubicBezTo>
                    <a:pt x="124" y="24"/>
                    <a:pt x="121" y="25"/>
                    <a:pt x="119" y="26"/>
                  </a:cubicBezTo>
                  <a:cubicBezTo>
                    <a:pt x="118" y="27"/>
                    <a:pt x="117" y="27"/>
                    <a:pt x="117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116" y="28"/>
                    <a:pt x="116" y="32"/>
                    <a:pt x="118" y="38"/>
                  </a:cubicBezTo>
                  <a:cubicBezTo>
                    <a:pt x="118" y="41"/>
                    <a:pt x="119" y="45"/>
                    <a:pt x="120" y="49"/>
                  </a:cubicBezTo>
                  <a:cubicBezTo>
                    <a:pt x="120" y="53"/>
                    <a:pt x="121" y="57"/>
                    <a:pt x="122" y="61"/>
                  </a:cubicBezTo>
                  <a:cubicBezTo>
                    <a:pt x="123" y="64"/>
                    <a:pt x="124" y="67"/>
                    <a:pt x="125" y="71"/>
                  </a:cubicBezTo>
                  <a:cubicBezTo>
                    <a:pt x="123" y="72"/>
                    <a:pt x="121" y="73"/>
                    <a:pt x="120" y="74"/>
                  </a:cubicBezTo>
                  <a:cubicBezTo>
                    <a:pt x="116" y="77"/>
                    <a:pt x="114" y="78"/>
                    <a:pt x="112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2"/>
                    <a:pt x="108" y="83"/>
                  </a:cubicBezTo>
                  <a:cubicBezTo>
                    <a:pt x="108" y="83"/>
                    <a:pt x="107" y="84"/>
                    <a:pt x="106" y="84"/>
                  </a:cubicBezTo>
                  <a:cubicBezTo>
                    <a:pt x="104" y="86"/>
                    <a:pt x="102" y="88"/>
                    <a:pt x="99" y="91"/>
                  </a:cubicBezTo>
                  <a:cubicBezTo>
                    <a:pt x="98" y="92"/>
                    <a:pt x="96" y="93"/>
                    <a:pt x="94" y="95"/>
                  </a:cubicBezTo>
                  <a:cubicBezTo>
                    <a:pt x="91" y="93"/>
                    <a:pt x="88" y="92"/>
                    <a:pt x="85" y="90"/>
                  </a:cubicBezTo>
                  <a:cubicBezTo>
                    <a:pt x="78" y="87"/>
                    <a:pt x="70" y="83"/>
                    <a:pt x="64" y="81"/>
                  </a:cubicBezTo>
                  <a:cubicBezTo>
                    <a:pt x="62" y="79"/>
                    <a:pt x="59" y="79"/>
                    <a:pt x="57" y="78"/>
                  </a:cubicBezTo>
                  <a:cubicBezTo>
                    <a:pt x="56" y="77"/>
                    <a:pt x="55" y="77"/>
                    <a:pt x="55" y="77"/>
                  </a:cubicBezTo>
                  <a:cubicBezTo>
                    <a:pt x="55" y="77"/>
                    <a:pt x="54" y="78"/>
                    <a:pt x="52" y="80"/>
                  </a:cubicBezTo>
                  <a:cubicBezTo>
                    <a:pt x="52" y="81"/>
                    <a:pt x="51" y="82"/>
                    <a:pt x="50" y="83"/>
                  </a:cubicBezTo>
                  <a:cubicBezTo>
                    <a:pt x="49" y="84"/>
                    <a:pt x="48" y="85"/>
                    <a:pt x="47" y="86"/>
                  </a:cubicBezTo>
                  <a:cubicBezTo>
                    <a:pt x="45" y="89"/>
                    <a:pt x="43" y="91"/>
                    <a:pt x="42" y="93"/>
                  </a:cubicBezTo>
                  <a:cubicBezTo>
                    <a:pt x="40" y="95"/>
                    <a:pt x="40" y="96"/>
                    <a:pt x="40" y="96"/>
                  </a:cubicBezTo>
                  <a:cubicBezTo>
                    <a:pt x="40" y="96"/>
                    <a:pt x="42" y="99"/>
                    <a:pt x="46" y="105"/>
                  </a:cubicBezTo>
                  <a:cubicBezTo>
                    <a:pt x="49" y="110"/>
                    <a:pt x="54" y="116"/>
                    <a:pt x="59" y="123"/>
                  </a:cubicBezTo>
                  <a:cubicBezTo>
                    <a:pt x="62" y="125"/>
                    <a:pt x="64" y="128"/>
                    <a:pt x="66" y="131"/>
                  </a:cubicBezTo>
                  <a:cubicBezTo>
                    <a:pt x="65" y="131"/>
                    <a:pt x="65" y="132"/>
                    <a:pt x="64" y="133"/>
                  </a:cubicBezTo>
                  <a:cubicBezTo>
                    <a:pt x="64" y="134"/>
                    <a:pt x="63" y="135"/>
                    <a:pt x="63" y="136"/>
                  </a:cubicBezTo>
                  <a:cubicBezTo>
                    <a:pt x="61" y="139"/>
                    <a:pt x="59" y="142"/>
                    <a:pt x="58" y="144"/>
                  </a:cubicBezTo>
                  <a:cubicBezTo>
                    <a:pt x="57" y="146"/>
                    <a:pt x="57" y="148"/>
                    <a:pt x="57" y="148"/>
                  </a:cubicBezTo>
                  <a:cubicBezTo>
                    <a:pt x="57" y="148"/>
                    <a:pt x="56" y="149"/>
                    <a:pt x="55" y="151"/>
                  </a:cubicBezTo>
                  <a:cubicBezTo>
                    <a:pt x="54" y="153"/>
                    <a:pt x="53" y="156"/>
                    <a:pt x="51" y="160"/>
                  </a:cubicBezTo>
                  <a:cubicBezTo>
                    <a:pt x="51" y="162"/>
                    <a:pt x="50" y="163"/>
                    <a:pt x="49" y="166"/>
                  </a:cubicBezTo>
                  <a:cubicBezTo>
                    <a:pt x="46" y="165"/>
                    <a:pt x="42" y="165"/>
                    <a:pt x="39" y="165"/>
                  </a:cubicBezTo>
                  <a:cubicBezTo>
                    <a:pt x="35" y="165"/>
                    <a:pt x="31" y="165"/>
                    <a:pt x="27" y="165"/>
                  </a:cubicBezTo>
                  <a:cubicBezTo>
                    <a:pt x="25" y="165"/>
                    <a:pt x="23" y="165"/>
                    <a:pt x="21" y="165"/>
                  </a:cubicBezTo>
                  <a:cubicBezTo>
                    <a:pt x="19" y="166"/>
                    <a:pt x="18" y="166"/>
                    <a:pt x="16" y="166"/>
                  </a:cubicBezTo>
                  <a:cubicBezTo>
                    <a:pt x="10" y="166"/>
                    <a:pt x="6" y="166"/>
                    <a:pt x="6" y="166"/>
                  </a:cubicBezTo>
                  <a:cubicBezTo>
                    <a:pt x="6" y="166"/>
                    <a:pt x="5" y="168"/>
                    <a:pt x="5" y="170"/>
                  </a:cubicBezTo>
                  <a:cubicBezTo>
                    <a:pt x="4" y="171"/>
                    <a:pt x="4" y="171"/>
                    <a:pt x="4" y="172"/>
                  </a:cubicBezTo>
                  <a:cubicBezTo>
                    <a:pt x="4" y="173"/>
                    <a:pt x="4" y="173"/>
                    <a:pt x="4" y="174"/>
                  </a:cubicBezTo>
                  <a:cubicBezTo>
                    <a:pt x="3" y="175"/>
                    <a:pt x="3" y="177"/>
                    <a:pt x="3" y="178"/>
                  </a:cubicBezTo>
                  <a:cubicBezTo>
                    <a:pt x="2" y="180"/>
                    <a:pt x="2" y="181"/>
                    <a:pt x="2" y="183"/>
                  </a:cubicBezTo>
                  <a:cubicBezTo>
                    <a:pt x="1" y="184"/>
                    <a:pt x="1" y="185"/>
                    <a:pt x="1" y="187"/>
                  </a:cubicBezTo>
                  <a:cubicBezTo>
                    <a:pt x="0" y="189"/>
                    <a:pt x="0" y="190"/>
                    <a:pt x="0" y="190"/>
                  </a:cubicBezTo>
                  <a:cubicBezTo>
                    <a:pt x="0" y="190"/>
                    <a:pt x="4" y="192"/>
                    <a:pt x="9" y="195"/>
                  </a:cubicBezTo>
                  <a:cubicBezTo>
                    <a:pt x="15" y="198"/>
                    <a:pt x="22" y="202"/>
                    <a:pt x="30" y="206"/>
                  </a:cubicBezTo>
                  <a:cubicBezTo>
                    <a:pt x="33" y="207"/>
                    <a:pt x="36" y="209"/>
                    <a:pt x="39" y="210"/>
                  </a:cubicBezTo>
                  <a:cubicBezTo>
                    <a:pt x="39" y="212"/>
                    <a:pt x="39" y="214"/>
                    <a:pt x="39" y="216"/>
                  </a:cubicBezTo>
                  <a:cubicBezTo>
                    <a:pt x="38" y="220"/>
                    <a:pt x="38" y="223"/>
                    <a:pt x="38" y="226"/>
                  </a:cubicBezTo>
                  <a:cubicBezTo>
                    <a:pt x="38" y="228"/>
                    <a:pt x="38" y="229"/>
                    <a:pt x="38" y="229"/>
                  </a:cubicBezTo>
                  <a:cubicBezTo>
                    <a:pt x="38" y="229"/>
                    <a:pt x="38" y="231"/>
                    <a:pt x="38" y="233"/>
                  </a:cubicBezTo>
                  <a:cubicBezTo>
                    <a:pt x="38" y="235"/>
                    <a:pt x="38" y="239"/>
                    <a:pt x="39" y="243"/>
                  </a:cubicBezTo>
                  <a:cubicBezTo>
                    <a:pt x="39" y="245"/>
                    <a:pt x="39" y="247"/>
                    <a:pt x="39" y="249"/>
                  </a:cubicBezTo>
                  <a:cubicBezTo>
                    <a:pt x="36" y="250"/>
                    <a:pt x="33" y="252"/>
                    <a:pt x="30" y="253"/>
                  </a:cubicBezTo>
                  <a:cubicBezTo>
                    <a:pt x="22" y="257"/>
                    <a:pt x="15" y="260"/>
                    <a:pt x="9" y="263"/>
                  </a:cubicBezTo>
                  <a:cubicBezTo>
                    <a:pt x="4" y="266"/>
                    <a:pt x="0" y="268"/>
                    <a:pt x="0" y="268"/>
                  </a:cubicBezTo>
                  <a:cubicBezTo>
                    <a:pt x="0" y="268"/>
                    <a:pt x="0" y="270"/>
                    <a:pt x="1" y="272"/>
                  </a:cubicBezTo>
                  <a:cubicBezTo>
                    <a:pt x="1" y="273"/>
                    <a:pt x="1" y="275"/>
                    <a:pt x="2" y="276"/>
                  </a:cubicBezTo>
                  <a:cubicBezTo>
                    <a:pt x="2" y="277"/>
                    <a:pt x="2" y="279"/>
                    <a:pt x="3" y="280"/>
                  </a:cubicBezTo>
                  <a:cubicBezTo>
                    <a:pt x="3" y="282"/>
                    <a:pt x="3" y="283"/>
                    <a:pt x="4" y="285"/>
                  </a:cubicBezTo>
                  <a:cubicBezTo>
                    <a:pt x="4" y="286"/>
                    <a:pt x="4" y="286"/>
                    <a:pt x="4" y="287"/>
                  </a:cubicBezTo>
                  <a:cubicBezTo>
                    <a:pt x="4" y="287"/>
                    <a:pt x="4" y="288"/>
                    <a:pt x="5" y="289"/>
                  </a:cubicBezTo>
                  <a:cubicBezTo>
                    <a:pt x="5" y="291"/>
                    <a:pt x="6" y="292"/>
                    <a:pt x="6" y="292"/>
                  </a:cubicBezTo>
                  <a:cubicBezTo>
                    <a:pt x="6" y="292"/>
                    <a:pt x="10" y="293"/>
                    <a:pt x="16" y="293"/>
                  </a:cubicBezTo>
                  <a:cubicBezTo>
                    <a:pt x="18" y="293"/>
                    <a:pt x="19" y="293"/>
                    <a:pt x="21" y="293"/>
                  </a:cubicBezTo>
                  <a:cubicBezTo>
                    <a:pt x="23" y="293"/>
                    <a:pt x="25" y="293"/>
                    <a:pt x="27" y="293"/>
                  </a:cubicBezTo>
                  <a:cubicBezTo>
                    <a:pt x="31" y="293"/>
                    <a:pt x="35" y="294"/>
                    <a:pt x="39" y="293"/>
                  </a:cubicBezTo>
                  <a:cubicBezTo>
                    <a:pt x="42" y="293"/>
                    <a:pt x="46" y="293"/>
                    <a:pt x="49" y="293"/>
                  </a:cubicBezTo>
                  <a:cubicBezTo>
                    <a:pt x="50" y="295"/>
                    <a:pt x="51" y="297"/>
                    <a:pt x="51" y="299"/>
                  </a:cubicBezTo>
                  <a:cubicBezTo>
                    <a:pt x="53" y="303"/>
                    <a:pt x="54" y="306"/>
                    <a:pt x="55" y="308"/>
                  </a:cubicBezTo>
                  <a:cubicBezTo>
                    <a:pt x="56" y="310"/>
                    <a:pt x="57" y="311"/>
                    <a:pt x="57" y="311"/>
                  </a:cubicBezTo>
                  <a:cubicBezTo>
                    <a:pt x="57" y="311"/>
                    <a:pt x="57" y="312"/>
                    <a:pt x="58" y="314"/>
                  </a:cubicBezTo>
                  <a:cubicBezTo>
                    <a:pt x="59" y="316"/>
                    <a:pt x="61" y="319"/>
                    <a:pt x="63" y="323"/>
                  </a:cubicBezTo>
                  <a:cubicBezTo>
                    <a:pt x="63" y="324"/>
                    <a:pt x="64" y="325"/>
                    <a:pt x="64" y="325"/>
                  </a:cubicBezTo>
                  <a:cubicBezTo>
                    <a:pt x="65" y="326"/>
                    <a:pt x="65" y="327"/>
                    <a:pt x="66" y="328"/>
                  </a:cubicBezTo>
                  <a:cubicBezTo>
                    <a:pt x="64" y="331"/>
                    <a:pt x="62" y="333"/>
                    <a:pt x="59" y="336"/>
                  </a:cubicBezTo>
                  <a:cubicBezTo>
                    <a:pt x="54" y="342"/>
                    <a:pt x="49" y="349"/>
                    <a:pt x="46" y="354"/>
                  </a:cubicBezTo>
                  <a:cubicBezTo>
                    <a:pt x="42" y="359"/>
                    <a:pt x="40" y="363"/>
                    <a:pt x="40" y="363"/>
                  </a:cubicBezTo>
                  <a:cubicBezTo>
                    <a:pt x="40" y="363"/>
                    <a:pt x="40" y="364"/>
                    <a:pt x="42" y="366"/>
                  </a:cubicBezTo>
                  <a:cubicBezTo>
                    <a:pt x="43" y="368"/>
                    <a:pt x="45" y="370"/>
                    <a:pt x="47" y="373"/>
                  </a:cubicBezTo>
                  <a:cubicBezTo>
                    <a:pt x="48" y="374"/>
                    <a:pt x="49" y="375"/>
                    <a:pt x="50" y="376"/>
                  </a:cubicBezTo>
                  <a:cubicBezTo>
                    <a:pt x="51" y="377"/>
                    <a:pt x="52" y="378"/>
                    <a:pt x="52" y="379"/>
                  </a:cubicBezTo>
                  <a:cubicBezTo>
                    <a:pt x="54" y="381"/>
                    <a:pt x="55" y="382"/>
                    <a:pt x="55" y="382"/>
                  </a:cubicBezTo>
                  <a:cubicBezTo>
                    <a:pt x="55" y="382"/>
                    <a:pt x="56" y="382"/>
                    <a:pt x="57" y="381"/>
                  </a:cubicBezTo>
                  <a:cubicBezTo>
                    <a:pt x="59" y="380"/>
                    <a:pt x="62" y="379"/>
                    <a:pt x="64" y="378"/>
                  </a:cubicBezTo>
                  <a:cubicBezTo>
                    <a:pt x="70" y="376"/>
                    <a:pt x="78" y="372"/>
                    <a:pt x="85" y="369"/>
                  </a:cubicBezTo>
                  <a:cubicBezTo>
                    <a:pt x="88" y="367"/>
                    <a:pt x="91" y="365"/>
                    <a:pt x="94" y="364"/>
                  </a:cubicBezTo>
                  <a:cubicBezTo>
                    <a:pt x="96" y="365"/>
                    <a:pt x="98" y="367"/>
                    <a:pt x="99" y="368"/>
                  </a:cubicBezTo>
                  <a:cubicBezTo>
                    <a:pt x="102" y="371"/>
                    <a:pt x="104" y="373"/>
                    <a:pt x="106" y="374"/>
                  </a:cubicBezTo>
                  <a:cubicBezTo>
                    <a:pt x="107" y="375"/>
                    <a:pt x="108" y="376"/>
                    <a:pt x="108" y="376"/>
                  </a:cubicBezTo>
                  <a:cubicBezTo>
                    <a:pt x="109" y="376"/>
                    <a:pt x="109" y="377"/>
                    <a:pt x="109" y="377"/>
                  </a:cubicBezTo>
                  <a:cubicBezTo>
                    <a:pt x="109" y="377"/>
                    <a:pt x="110" y="377"/>
                    <a:pt x="112" y="379"/>
                  </a:cubicBezTo>
                  <a:cubicBezTo>
                    <a:pt x="114" y="380"/>
                    <a:pt x="116" y="382"/>
                    <a:pt x="120" y="385"/>
                  </a:cubicBezTo>
                  <a:cubicBezTo>
                    <a:pt x="121" y="386"/>
                    <a:pt x="123" y="387"/>
                    <a:pt x="125" y="388"/>
                  </a:cubicBezTo>
                  <a:cubicBezTo>
                    <a:pt x="124" y="391"/>
                    <a:pt x="123" y="395"/>
                    <a:pt x="122" y="398"/>
                  </a:cubicBezTo>
                  <a:cubicBezTo>
                    <a:pt x="121" y="402"/>
                    <a:pt x="120" y="406"/>
                    <a:pt x="120" y="410"/>
                  </a:cubicBezTo>
                  <a:cubicBezTo>
                    <a:pt x="119" y="414"/>
                    <a:pt x="118" y="417"/>
                    <a:pt x="118" y="420"/>
                  </a:cubicBezTo>
                  <a:cubicBezTo>
                    <a:pt x="116" y="427"/>
                    <a:pt x="116" y="431"/>
                    <a:pt x="116" y="431"/>
                  </a:cubicBezTo>
                  <a:cubicBezTo>
                    <a:pt x="116" y="431"/>
                    <a:pt x="116" y="431"/>
                    <a:pt x="117" y="431"/>
                  </a:cubicBezTo>
                  <a:cubicBezTo>
                    <a:pt x="117" y="432"/>
                    <a:pt x="118" y="432"/>
                    <a:pt x="119" y="432"/>
                  </a:cubicBezTo>
                  <a:cubicBezTo>
                    <a:pt x="121" y="434"/>
                    <a:pt x="124" y="435"/>
                    <a:pt x="127" y="436"/>
                  </a:cubicBezTo>
                  <a:cubicBezTo>
                    <a:pt x="130" y="438"/>
                    <a:pt x="132" y="439"/>
                    <a:pt x="134" y="440"/>
                  </a:cubicBezTo>
                  <a:cubicBezTo>
                    <a:pt x="135" y="440"/>
                    <a:pt x="136" y="441"/>
                    <a:pt x="137" y="441"/>
                  </a:cubicBezTo>
                  <a:cubicBezTo>
                    <a:pt x="138" y="441"/>
                    <a:pt x="138" y="441"/>
                    <a:pt x="138" y="441"/>
                  </a:cubicBezTo>
                  <a:cubicBezTo>
                    <a:pt x="138" y="441"/>
                    <a:pt x="141" y="438"/>
                    <a:pt x="145" y="434"/>
                  </a:cubicBezTo>
                  <a:cubicBezTo>
                    <a:pt x="147" y="431"/>
                    <a:pt x="149" y="428"/>
                    <a:pt x="152" y="426"/>
                  </a:cubicBezTo>
                  <a:cubicBezTo>
                    <a:pt x="154" y="423"/>
                    <a:pt x="157" y="419"/>
                    <a:pt x="160" y="416"/>
                  </a:cubicBezTo>
                  <a:cubicBezTo>
                    <a:pt x="162" y="413"/>
                    <a:pt x="164" y="410"/>
                    <a:pt x="166" y="408"/>
                  </a:cubicBezTo>
                  <a:cubicBezTo>
                    <a:pt x="168" y="408"/>
                    <a:pt x="170" y="409"/>
                    <a:pt x="172" y="410"/>
                  </a:cubicBezTo>
                  <a:cubicBezTo>
                    <a:pt x="174" y="410"/>
                    <a:pt x="175" y="411"/>
                    <a:pt x="177" y="411"/>
                  </a:cubicBezTo>
                  <a:cubicBezTo>
                    <a:pt x="178" y="411"/>
                    <a:pt x="178" y="412"/>
                    <a:pt x="179" y="412"/>
                  </a:cubicBezTo>
                  <a:cubicBezTo>
                    <a:pt x="180" y="412"/>
                    <a:pt x="180" y="412"/>
                    <a:pt x="181" y="412"/>
                  </a:cubicBezTo>
                  <a:cubicBezTo>
                    <a:pt x="183" y="413"/>
                    <a:pt x="185" y="413"/>
                    <a:pt x="185" y="413"/>
                  </a:cubicBezTo>
                  <a:cubicBezTo>
                    <a:pt x="185" y="413"/>
                    <a:pt x="186" y="413"/>
                    <a:pt x="188" y="414"/>
                  </a:cubicBezTo>
                  <a:cubicBezTo>
                    <a:pt x="190" y="414"/>
                    <a:pt x="194" y="415"/>
                    <a:pt x="197" y="416"/>
                  </a:cubicBezTo>
                  <a:cubicBezTo>
                    <a:pt x="199" y="416"/>
                    <a:pt x="202" y="416"/>
                    <a:pt x="204" y="416"/>
                  </a:cubicBezTo>
                  <a:cubicBezTo>
                    <a:pt x="204" y="420"/>
                    <a:pt x="205" y="423"/>
                    <a:pt x="206" y="427"/>
                  </a:cubicBezTo>
                  <a:cubicBezTo>
                    <a:pt x="207" y="435"/>
                    <a:pt x="210" y="443"/>
                    <a:pt x="211" y="449"/>
                  </a:cubicBezTo>
                  <a:cubicBezTo>
                    <a:pt x="213" y="455"/>
                    <a:pt x="214" y="459"/>
                    <a:pt x="214" y="459"/>
                  </a:cubicBezTo>
                  <a:cubicBezTo>
                    <a:pt x="214" y="459"/>
                    <a:pt x="215" y="459"/>
                    <a:pt x="215" y="459"/>
                  </a:cubicBezTo>
                  <a:cubicBezTo>
                    <a:pt x="216" y="459"/>
                    <a:pt x="217" y="459"/>
                    <a:pt x="218" y="459"/>
                  </a:cubicBezTo>
                  <a:cubicBezTo>
                    <a:pt x="220" y="459"/>
                    <a:pt x="223" y="459"/>
                    <a:pt x="226" y="459"/>
                  </a:cubicBezTo>
                  <a:cubicBezTo>
                    <a:pt x="229" y="459"/>
                    <a:pt x="233" y="459"/>
                    <a:pt x="235" y="459"/>
                  </a:cubicBezTo>
                  <a:cubicBezTo>
                    <a:pt x="236" y="459"/>
                    <a:pt x="237" y="459"/>
                    <a:pt x="238" y="459"/>
                  </a:cubicBezTo>
                  <a:cubicBezTo>
                    <a:pt x="238" y="459"/>
                    <a:pt x="239" y="459"/>
                    <a:pt x="239" y="459"/>
                  </a:cubicBezTo>
                  <a:cubicBezTo>
                    <a:pt x="239" y="459"/>
                    <a:pt x="240" y="455"/>
                    <a:pt x="242" y="449"/>
                  </a:cubicBezTo>
                  <a:cubicBezTo>
                    <a:pt x="243" y="443"/>
                    <a:pt x="245" y="435"/>
                    <a:pt x="247" y="427"/>
                  </a:cubicBezTo>
                  <a:cubicBezTo>
                    <a:pt x="248" y="423"/>
                    <a:pt x="249" y="420"/>
                    <a:pt x="249" y="416"/>
                  </a:cubicBezTo>
                  <a:cubicBezTo>
                    <a:pt x="251" y="416"/>
                    <a:pt x="253" y="416"/>
                    <a:pt x="255" y="416"/>
                  </a:cubicBezTo>
                  <a:cubicBezTo>
                    <a:pt x="259" y="415"/>
                    <a:pt x="263" y="414"/>
                    <a:pt x="265" y="414"/>
                  </a:cubicBezTo>
                  <a:cubicBezTo>
                    <a:pt x="267" y="413"/>
                    <a:pt x="268" y="413"/>
                    <a:pt x="268" y="413"/>
                  </a:cubicBezTo>
                  <a:cubicBezTo>
                    <a:pt x="268" y="413"/>
                    <a:pt x="270" y="413"/>
                    <a:pt x="272" y="412"/>
                  </a:cubicBezTo>
                  <a:cubicBezTo>
                    <a:pt x="272" y="412"/>
                    <a:pt x="273" y="412"/>
                    <a:pt x="274" y="412"/>
                  </a:cubicBezTo>
                  <a:cubicBezTo>
                    <a:pt x="274" y="412"/>
                    <a:pt x="275" y="411"/>
                    <a:pt x="276" y="411"/>
                  </a:cubicBezTo>
                  <a:cubicBezTo>
                    <a:pt x="277" y="411"/>
                    <a:pt x="279" y="410"/>
                    <a:pt x="281" y="410"/>
                  </a:cubicBezTo>
                  <a:cubicBezTo>
                    <a:pt x="283" y="409"/>
                    <a:pt x="285" y="408"/>
                    <a:pt x="287" y="408"/>
                  </a:cubicBezTo>
                  <a:cubicBezTo>
                    <a:pt x="289" y="410"/>
                    <a:pt x="291" y="413"/>
                    <a:pt x="293" y="416"/>
                  </a:cubicBezTo>
                  <a:cubicBezTo>
                    <a:pt x="296" y="419"/>
                    <a:pt x="298" y="423"/>
                    <a:pt x="301" y="426"/>
                  </a:cubicBezTo>
                  <a:cubicBezTo>
                    <a:pt x="303" y="428"/>
                    <a:pt x="306" y="431"/>
                    <a:pt x="308" y="434"/>
                  </a:cubicBezTo>
                  <a:cubicBezTo>
                    <a:pt x="312" y="438"/>
                    <a:pt x="315" y="441"/>
                    <a:pt x="315" y="441"/>
                  </a:cubicBezTo>
                  <a:cubicBezTo>
                    <a:pt x="315" y="441"/>
                    <a:pt x="315" y="441"/>
                    <a:pt x="316" y="441"/>
                  </a:cubicBezTo>
                  <a:cubicBezTo>
                    <a:pt x="317" y="441"/>
                    <a:pt x="317" y="440"/>
                    <a:pt x="318" y="440"/>
                  </a:cubicBezTo>
                  <a:cubicBezTo>
                    <a:pt x="321" y="439"/>
                    <a:pt x="323" y="438"/>
                    <a:pt x="326" y="436"/>
                  </a:cubicBezTo>
                  <a:cubicBezTo>
                    <a:pt x="329" y="435"/>
                    <a:pt x="332" y="434"/>
                    <a:pt x="334" y="432"/>
                  </a:cubicBezTo>
                  <a:cubicBezTo>
                    <a:pt x="335" y="432"/>
                    <a:pt x="335" y="432"/>
                    <a:pt x="336" y="431"/>
                  </a:cubicBezTo>
                  <a:cubicBezTo>
                    <a:pt x="337" y="431"/>
                    <a:pt x="337" y="431"/>
                    <a:pt x="337" y="431"/>
                  </a:cubicBezTo>
                  <a:cubicBezTo>
                    <a:pt x="337" y="431"/>
                    <a:pt x="336" y="427"/>
                    <a:pt x="335" y="420"/>
                  </a:cubicBezTo>
                  <a:cubicBezTo>
                    <a:pt x="335" y="417"/>
                    <a:pt x="334" y="414"/>
                    <a:pt x="333" y="410"/>
                  </a:cubicBezTo>
                  <a:cubicBezTo>
                    <a:pt x="333" y="406"/>
                    <a:pt x="332" y="402"/>
                    <a:pt x="331" y="398"/>
                  </a:cubicBezTo>
                  <a:cubicBezTo>
                    <a:pt x="330" y="395"/>
                    <a:pt x="329" y="391"/>
                    <a:pt x="328" y="388"/>
                  </a:cubicBezTo>
                  <a:cubicBezTo>
                    <a:pt x="330" y="387"/>
                    <a:pt x="332" y="386"/>
                    <a:pt x="333" y="385"/>
                  </a:cubicBezTo>
                  <a:cubicBezTo>
                    <a:pt x="337" y="382"/>
                    <a:pt x="339" y="380"/>
                    <a:pt x="341" y="379"/>
                  </a:cubicBezTo>
                  <a:cubicBezTo>
                    <a:pt x="343" y="377"/>
                    <a:pt x="344" y="377"/>
                    <a:pt x="344" y="377"/>
                  </a:cubicBezTo>
                  <a:cubicBezTo>
                    <a:pt x="344" y="377"/>
                    <a:pt x="344" y="376"/>
                    <a:pt x="345" y="376"/>
                  </a:cubicBezTo>
                  <a:cubicBezTo>
                    <a:pt x="345" y="376"/>
                    <a:pt x="346" y="375"/>
                    <a:pt x="347" y="374"/>
                  </a:cubicBezTo>
                  <a:cubicBezTo>
                    <a:pt x="348" y="373"/>
                    <a:pt x="351" y="371"/>
                    <a:pt x="354" y="368"/>
                  </a:cubicBezTo>
                  <a:cubicBezTo>
                    <a:pt x="355" y="367"/>
                    <a:pt x="357" y="365"/>
                    <a:pt x="359" y="364"/>
                  </a:cubicBezTo>
                  <a:cubicBezTo>
                    <a:pt x="361" y="365"/>
                    <a:pt x="365" y="367"/>
                    <a:pt x="368" y="369"/>
                  </a:cubicBezTo>
                  <a:cubicBezTo>
                    <a:pt x="375" y="372"/>
                    <a:pt x="383" y="376"/>
                    <a:pt x="388" y="378"/>
                  </a:cubicBezTo>
                  <a:cubicBezTo>
                    <a:pt x="391" y="379"/>
                    <a:pt x="394" y="380"/>
                    <a:pt x="395" y="381"/>
                  </a:cubicBezTo>
                  <a:cubicBezTo>
                    <a:pt x="397" y="382"/>
                    <a:pt x="398" y="382"/>
                    <a:pt x="398" y="382"/>
                  </a:cubicBezTo>
                  <a:cubicBezTo>
                    <a:pt x="398" y="382"/>
                    <a:pt x="399" y="381"/>
                    <a:pt x="401" y="379"/>
                  </a:cubicBezTo>
                  <a:cubicBezTo>
                    <a:pt x="401" y="378"/>
                    <a:pt x="402" y="377"/>
                    <a:pt x="403" y="376"/>
                  </a:cubicBezTo>
                  <a:cubicBezTo>
                    <a:pt x="404" y="375"/>
                    <a:pt x="405" y="374"/>
                    <a:pt x="406" y="373"/>
                  </a:cubicBezTo>
                  <a:cubicBezTo>
                    <a:pt x="408" y="370"/>
                    <a:pt x="410" y="368"/>
                    <a:pt x="411" y="366"/>
                  </a:cubicBezTo>
                  <a:cubicBezTo>
                    <a:pt x="412" y="364"/>
                    <a:pt x="413" y="363"/>
                    <a:pt x="413" y="363"/>
                  </a:cubicBezTo>
                  <a:cubicBezTo>
                    <a:pt x="413" y="363"/>
                    <a:pt x="411" y="359"/>
                    <a:pt x="407" y="354"/>
                  </a:cubicBezTo>
                  <a:cubicBezTo>
                    <a:pt x="404" y="349"/>
                    <a:pt x="399" y="342"/>
                    <a:pt x="394" y="336"/>
                  </a:cubicBezTo>
                  <a:cubicBezTo>
                    <a:pt x="391" y="333"/>
                    <a:pt x="389" y="331"/>
                    <a:pt x="387" y="328"/>
                  </a:cubicBezTo>
                  <a:cubicBezTo>
                    <a:pt x="387" y="327"/>
                    <a:pt x="388" y="326"/>
                    <a:pt x="389" y="325"/>
                  </a:cubicBezTo>
                  <a:cubicBezTo>
                    <a:pt x="389" y="325"/>
                    <a:pt x="390" y="324"/>
                    <a:pt x="390" y="323"/>
                  </a:cubicBezTo>
                  <a:cubicBezTo>
                    <a:pt x="392" y="319"/>
                    <a:pt x="394" y="316"/>
                    <a:pt x="395" y="314"/>
                  </a:cubicBezTo>
                  <a:cubicBezTo>
                    <a:pt x="396" y="312"/>
                    <a:pt x="396" y="311"/>
                    <a:pt x="396" y="311"/>
                  </a:cubicBezTo>
                  <a:cubicBezTo>
                    <a:pt x="396" y="311"/>
                    <a:pt x="397" y="310"/>
                    <a:pt x="398" y="308"/>
                  </a:cubicBezTo>
                  <a:cubicBezTo>
                    <a:pt x="399" y="306"/>
                    <a:pt x="400" y="303"/>
                    <a:pt x="402" y="299"/>
                  </a:cubicBezTo>
                  <a:cubicBezTo>
                    <a:pt x="402" y="297"/>
                    <a:pt x="403" y="295"/>
                    <a:pt x="404" y="293"/>
                  </a:cubicBezTo>
                  <a:cubicBezTo>
                    <a:pt x="407" y="293"/>
                    <a:pt x="411" y="293"/>
                    <a:pt x="414" y="293"/>
                  </a:cubicBezTo>
                  <a:cubicBezTo>
                    <a:pt x="418" y="294"/>
                    <a:pt x="422" y="293"/>
                    <a:pt x="426" y="293"/>
                  </a:cubicBezTo>
                  <a:cubicBezTo>
                    <a:pt x="428" y="293"/>
                    <a:pt x="430" y="293"/>
                    <a:pt x="432" y="293"/>
                  </a:cubicBezTo>
                  <a:cubicBezTo>
                    <a:pt x="434" y="293"/>
                    <a:pt x="435" y="293"/>
                    <a:pt x="437" y="293"/>
                  </a:cubicBezTo>
                  <a:cubicBezTo>
                    <a:pt x="443" y="293"/>
                    <a:pt x="447" y="292"/>
                    <a:pt x="447" y="292"/>
                  </a:cubicBezTo>
                  <a:cubicBezTo>
                    <a:pt x="447" y="292"/>
                    <a:pt x="448" y="291"/>
                    <a:pt x="448" y="289"/>
                  </a:cubicBezTo>
                  <a:cubicBezTo>
                    <a:pt x="448" y="288"/>
                    <a:pt x="449" y="287"/>
                    <a:pt x="449" y="287"/>
                  </a:cubicBezTo>
                  <a:cubicBezTo>
                    <a:pt x="449" y="286"/>
                    <a:pt x="449" y="286"/>
                    <a:pt x="449" y="285"/>
                  </a:cubicBezTo>
                  <a:cubicBezTo>
                    <a:pt x="450" y="283"/>
                    <a:pt x="450" y="282"/>
                    <a:pt x="450" y="280"/>
                  </a:cubicBezTo>
                  <a:cubicBezTo>
                    <a:pt x="451" y="279"/>
                    <a:pt x="451" y="277"/>
                    <a:pt x="451" y="276"/>
                  </a:cubicBezTo>
                  <a:cubicBezTo>
                    <a:pt x="452" y="275"/>
                    <a:pt x="452" y="273"/>
                    <a:pt x="452" y="272"/>
                  </a:cubicBezTo>
                  <a:cubicBezTo>
                    <a:pt x="452" y="270"/>
                    <a:pt x="453" y="268"/>
                    <a:pt x="453" y="268"/>
                  </a:cubicBezTo>
                  <a:cubicBezTo>
                    <a:pt x="453" y="268"/>
                    <a:pt x="449" y="266"/>
                    <a:pt x="444" y="263"/>
                  </a:cubicBezTo>
                  <a:cubicBezTo>
                    <a:pt x="438" y="260"/>
                    <a:pt x="431" y="257"/>
                    <a:pt x="423" y="253"/>
                  </a:cubicBezTo>
                  <a:close/>
                  <a:moveTo>
                    <a:pt x="226" y="368"/>
                  </a:moveTo>
                  <a:cubicBezTo>
                    <a:pt x="150" y="368"/>
                    <a:pt x="88" y="306"/>
                    <a:pt x="88" y="229"/>
                  </a:cubicBezTo>
                  <a:cubicBezTo>
                    <a:pt x="88" y="153"/>
                    <a:pt x="150" y="91"/>
                    <a:pt x="226" y="91"/>
                  </a:cubicBezTo>
                  <a:cubicBezTo>
                    <a:pt x="303" y="91"/>
                    <a:pt x="365" y="153"/>
                    <a:pt x="365" y="229"/>
                  </a:cubicBezTo>
                  <a:cubicBezTo>
                    <a:pt x="365" y="306"/>
                    <a:pt x="303" y="368"/>
                    <a:pt x="226" y="36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rPr>
                <a:t>02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7" name="ïśļiḋè"/>
            <p:cNvSpPr/>
            <p:nvPr/>
          </p:nvSpPr>
          <p:spPr bwMode="auto">
            <a:xfrm>
              <a:off x="5784057" y="3568699"/>
              <a:ext cx="1885951" cy="1912939"/>
            </a:xfrm>
            <a:custGeom>
              <a:avLst/>
              <a:gdLst>
                <a:gd name="T0" fmla="*/ 460 w 502"/>
                <a:gd name="T1" fmla="*/ 254 h 509"/>
                <a:gd name="T2" fmla="*/ 492 w 502"/>
                <a:gd name="T3" fmla="*/ 217 h 509"/>
                <a:gd name="T4" fmla="*/ 498 w 502"/>
                <a:gd name="T5" fmla="*/ 193 h 509"/>
                <a:gd name="T6" fmla="*/ 479 w 502"/>
                <a:gd name="T7" fmla="*/ 183 h 509"/>
                <a:gd name="T8" fmla="*/ 441 w 502"/>
                <a:gd name="T9" fmla="*/ 167 h 509"/>
                <a:gd name="T10" fmla="*/ 429 w 502"/>
                <a:gd name="T11" fmla="*/ 145 h 509"/>
                <a:gd name="T12" fmla="*/ 450 w 502"/>
                <a:gd name="T13" fmla="*/ 95 h 509"/>
                <a:gd name="T14" fmla="*/ 431 w 502"/>
                <a:gd name="T15" fmla="*/ 89 h 509"/>
                <a:gd name="T16" fmla="*/ 382 w 502"/>
                <a:gd name="T17" fmla="*/ 92 h 509"/>
                <a:gd name="T18" fmla="*/ 367 w 502"/>
                <a:gd name="T19" fmla="*/ 67 h 509"/>
                <a:gd name="T20" fmla="*/ 370 w 502"/>
                <a:gd name="T21" fmla="*/ 29 h 509"/>
                <a:gd name="T22" fmla="*/ 341 w 502"/>
                <a:gd name="T23" fmla="*/ 28 h 509"/>
                <a:gd name="T24" fmla="*/ 306 w 502"/>
                <a:gd name="T25" fmla="*/ 53 h 509"/>
                <a:gd name="T26" fmla="*/ 283 w 502"/>
                <a:gd name="T27" fmla="*/ 48 h 509"/>
                <a:gd name="T28" fmla="*/ 263 w 502"/>
                <a:gd name="T29" fmla="*/ 0 h 509"/>
                <a:gd name="T30" fmla="*/ 238 w 502"/>
                <a:gd name="T31" fmla="*/ 0 h 509"/>
                <a:gd name="T32" fmla="*/ 209 w 502"/>
                <a:gd name="T33" fmla="*/ 50 h 509"/>
                <a:gd name="T34" fmla="*/ 191 w 502"/>
                <a:gd name="T35" fmla="*/ 54 h 509"/>
                <a:gd name="T36" fmla="*/ 153 w 502"/>
                <a:gd name="T37" fmla="*/ 19 h 509"/>
                <a:gd name="T38" fmla="*/ 130 w 502"/>
                <a:gd name="T39" fmla="*/ 31 h 509"/>
                <a:gd name="T40" fmla="*/ 139 w 502"/>
                <a:gd name="T41" fmla="*/ 78 h 509"/>
                <a:gd name="T42" fmla="*/ 118 w 502"/>
                <a:gd name="T43" fmla="*/ 93 h 509"/>
                <a:gd name="T44" fmla="*/ 64 w 502"/>
                <a:gd name="T45" fmla="*/ 86 h 509"/>
                <a:gd name="T46" fmla="*/ 47 w 502"/>
                <a:gd name="T47" fmla="*/ 103 h 509"/>
                <a:gd name="T48" fmla="*/ 72 w 502"/>
                <a:gd name="T49" fmla="*/ 148 h 509"/>
                <a:gd name="T50" fmla="*/ 57 w 502"/>
                <a:gd name="T51" fmla="*/ 177 h 509"/>
                <a:gd name="T52" fmla="*/ 18 w 502"/>
                <a:gd name="T53" fmla="*/ 184 h 509"/>
                <a:gd name="T54" fmla="*/ 3 w 502"/>
                <a:gd name="T55" fmla="*/ 198 h 509"/>
                <a:gd name="T56" fmla="*/ 33 w 502"/>
                <a:gd name="T57" fmla="*/ 228 h 509"/>
                <a:gd name="T58" fmla="*/ 42 w 502"/>
                <a:gd name="T59" fmla="*/ 258 h 509"/>
                <a:gd name="T60" fmla="*/ 0 w 502"/>
                <a:gd name="T61" fmla="*/ 297 h 509"/>
                <a:gd name="T62" fmla="*/ 5 w 502"/>
                <a:gd name="T63" fmla="*/ 318 h 509"/>
                <a:gd name="T64" fmla="*/ 30 w 502"/>
                <a:gd name="T65" fmla="*/ 325 h 509"/>
                <a:gd name="T66" fmla="*/ 63 w 502"/>
                <a:gd name="T67" fmla="*/ 345 h 509"/>
                <a:gd name="T68" fmla="*/ 66 w 502"/>
                <a:gd name="T69" fmla="*/ 372 h 509"/>
                <a:gd name="T70" fmla="*/ 55 w 502"/>
                <a:gd name="T71" fmla="*/ 417 h 509"/>
                <a:gd name="T72" fmla="*/ 95 w 502"/>
                <a:gd name="T73" fmla="*/ 408 h 509"/>
                <a:gd name="T74" fmla="*/ 121 w 502"/>
                <a:gd name="T75" fmla="*/ 417 h 509"/>
                <a:gd name="T76" fmla="*/ 133 w 502"/>
                <a:gd name="T77" fmla="*/ 454 h 509"/>
                <a:gd name="T78" fmla="*/ 141 w 502"/>
                <a:gd name="T79" fmla="*/ 483 h 509"/>
                <a:gd name="T80" fmla="*/ 169 w 502"/>
                <a:gd name="T81" fmla="*/ 471 h 509"/>
                <a:gd name="T82" fmla="*/ 199 w 502"/>
                <a:gd name="T83" fmla="*/ 456 h 509"/>
                <a:gd name="T84" fmla="*/ 226 w 502"/>
                <a:gd name="T85" fmla="*/ 461 h 509"/>
                <a:gd name="T86" fmla="*/ 242 w 502"/>
                <a:gd name="T87" fmla="*/ 508 h 509"/>
                <a:gd name="T88" fmla="*/ 268 w 502"/>
                <a:gd name="T89" fmla="*/ 497 h 509"/>
                <a:gd name="T90" fmla="*/ 298 w 502"/>
                <a:gd name="T91" fmla="*/ 458 h 509"/>
                <a:gd name="T92" fmla="*/ 318 w 502"/>
                <a:gd name="T93" fmla="*/ 452 h 509"/>
                <a:gd name="T94" fmla="*/ 350 w 502"/>
                <a:gd name="T95" fmla="*/ 489 h 509"/>
                <a:gd name="T96" fmla="*/ 374 w 502"/>
                <a:gd name="T97" fmla="*/ 477 h 509"/>
                <a:gd name="T98" fmla="*/ 370 w 502"/>
                <a:gd name="T99" fmla="*/ 426 h 509"/>
                <a:gd name="T100" fmla="*/ 392 w 502"/>
                <a:gd name="T101" fmla="*/ 408 h 509"/>
                <a:gd name="T102" fmla="*/ 441 w 502"/>
                <a:gd name="T103" fmla="*/ 423 h 509"/>
                <a:gd name="T104" fmla="*/ 458 w 502"/>
                <a:gd name="T105" fmla="*/ 402 h 509"/>
                <a:gd name="T106" fmla="*/ 432 w 502"/>
                <a:gd name="T107" fmla="*/ 358 h 509"/>
                <a:gd name="T108" fmla="*/ 448 w 502"/>
                <a:gd name="T109" fmla="*/ 325 h 509"/>
                <a:gd name="T110" fmla="*/ 496 w 502"/>
                <a:gd name="T111" fmla="*/ 324 h 509"/>
                <a:gd name="T112" fmla="*/ 500 w 502"/>
                <a:gd name="T113" fmla="*/ 306 h 509"/>
                <a:gd name="T114" fmla="*/ 251 w 502"/>
                <a:gd name="T115" fmla="*/ 40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02" h="509">
                  <a:moveTo>
                    <a:pt x="469" y="280"/>
                  </a:moveTo>
                  <a:cubicBezTo>
                    <a:pt x="466" y="279"/>
                    <a:pt x="462" y="277"/>
                    <a:pt x="459" y="276"/>
                  </a:cubicBezTo>
                  <a:cubicBezTo>
                    <a:pt x="459" y="273"/>
                    <a:pt x="459" y="271"/>
                    <a:pt x="459" y="269"/>
                  </a:cubicBezTo>
                  <a:cubicBezTo>
                    <a:pt x="460" y="264"/>
                    <a:pt x="460" y="261"/>
                    <a:pt x="460" y="258"/>
                  </a:cubicBezTo>
                  <a:cubicBezTo>
                    <a:pt x="460" y="256"/>
                    <a:pt x="460" y="254"/>
                    <a:pt x="460" y="254"/>
                  </a:cubicBezTo>
                  <a:cubicBezTo>
                    <a:pt x="460" y="254"/>
                    <a:pt x="460" y="253"/>
                    <a:pt x="460" y="250"/>
                  </a:cubicBezTo>
                  <a:cubicBezTo>
                    <a:pt x="460" y="248"/>
                    <a:pt x="460" y="244"/>
                    <a:pt x="459" y="239"/>
                  </a:cubicBezTo>
                  <a:cubicBezTo>
                    <a:pt x="459" y="237"/>
                    <a:pt x="459" y="235"/>
                    <a:pt x="459" y="233"/>
                  </a:cubicBezTo>
                  <a:cubicBezTo>
                    <a:pt x="462" y="231"/>
                    <a:pt x="466" y="230"/>
                    <a:pt x="469" y="228"/>
                  </a:cubicBezTo>
                  <a:cubicBezTo>
                    <a:pt x="477" y="224"/>
                    <a:pt x="486" y="220"/>
                    <a:pt x="492" y="217"/>
                  </a:cubicBezTo>
                  <a:cubicBezTo>
                    <a:pt x="498" y="213"/>
                    <a:pt x="502" y="211"/>
                    <a:pt x="502" y="211"/>
                  </a:cubicBezTo>
                  <a:cubicBezTo>
                    <a:pt x="502" y="211"/>
                    <a:pt x="502" y="209"/>
                    <a:pt x="501" y="207"/>
                  </a:cubicBezTo>
                  <a:cubicBezTo>
                    <a:pt x="501" y="205"/>
                    <a:pt x="501" y="204"/>
                    <a:pt x="500" y="202"/>
                  </a:cubicBezTo>
                  <a:cubicBezTo>
                    <a:pt x="500" y="201"/>
                    <a:pt x="500" y="199"/>
                    <a:pt x="499" y="198"/>
                  </a:cubicBezTo>
                  <a:cubicBezTo>
                    <a:pt x="499" y="196"/>
                    <a:pt x="498" y="194"/>
                    <a:pt x="498" y="193"/>
                  </a:cubicBezTo>
                  <a:cubicBezTo>
                    <a:pt x="498" y="192"/>
                    <a:pt x="498" y="191"/>
                    <a:pt x="498" y="190"/>
                  </a:cubicBezTo>
                  <a:cubicBezTo>
                    <a:pt x="497" y="190"/>
                    <a:pt x="497" y="189"/>
                    <a:pt x="497" y="188"/>
                  </a:cubicBezTo>
                  <a:cubicBezTo>
                    <a:pt x="496" y="186"/>
                    <a:pt x="496" y="184"/>
                    <a:pt x="496" y="184"/>
                  </a:cubicBezTo>
                  <a:cubicBezTo>
                    <a:pt x="496" y="184"/>
                    <a:pt x="491" y="184"/>
                    <a:pt x="484" y="184"/>
                  </a:cubicBezTo>
                  <a:cubicBezTo>
                    <a:pt x="483" y="184"/>
                    <a:pt x="481" y="183"/>
                    <a:pt x="479" y="183"/>
                  </a:cubicBezTo>
                  <a:cubicBezTo>
                    <a:pt x="477" y="183"/>
                    <a:pt x="475" y="183"/>
                    <a:pt x="473" y="183"/>
                  </a:cubicBezTo>
                  <a:cubicBezTo>
                    <a:pt x="468" y="183"/>
                    <a:pt x="464" y="183"/>
                    <a:pt x="459" y="183"/>
                  </a:cubicBezTo>
                  <a:cubicBezTo>
                    <a:pt x="455" y="183"/>
                    <a:pt x="451" y="183"/>
                    <a:pt x="448" y="183"/>
                  </a:cubicBezTo>
                  <a:cubicBezTo>
                    <a:pt x="447" y="181"/>
                    <a:pt x="446" y="179"/>
                    <a:pt x="445" y="177"/>
                  </a:cubicBezTo>
                  <a:cubicBezTo>
                    <a:pt x="444" y="173"/>
                    <a:pt x="442" y="170"/>
                    <a:pt x="441" y="167"/>
                  </a:cubicBezTo>
                  <a:cubicBezTo>
                    <a:pt x="440" y="165"/>
                    <a:pt x="439" y="164"/>
                    <a:pt x="439" y="164"/>
                  </a:cubicBezTo>
                  <a:cubicBezTo>
                    <a:pt x="439" y="164"/>
                    <a:pt x="439" y="162"/>
                    <a:pt x="437" y="160"/>
                  </a:cubicBezTo>
                  <a:cubicBezTo>
                    <a:pt x="436" y="158"/>
                    <a:pt x="435" y="154"/>
                    <a:pt x="432" y="151"/>
                  </a:cubicBezTo>
                  <a:cubicBezTo>
                    <a:pt x="432" y="150"/>
                    <a:pt x="431" y="149"/>
                    <a:pt x="431" y="148"/>
                  </a:cubicBezTo>
                  <a:cubicBezTo>
                    <a:pt x="430" y="147"/>
                    <a:pt x="430" y="146"/>
                    <a:pt x="429" y="145"/>
                  </a:cubicBezTo>
                  <a:cubicBezTo>
                    <a:pt x="431" y="142"/>
                    <a:pt x="434" y="139"/>
                    <a:pt x="436" y="136"/>
                  </a:cubicBezTo>
                  <a:cubicBezTo>
                    <a:pt x="442" y="129"/>
                    <a:pt x="448" y="121"/>
                    <a:pt x="452" y="116"/>
                  </a:cubicBezTo>
                  <a:cubicBezTo>
                    <a:pt x="456" y="110"/>
                    <a:pt x="458" y="106"/>
                    <a:pt x="458" y="106"/>
                  </a:cubicBezTo>
                  <a:cubicBezTo>
                    <a:pt x="458" y="106"/>
                    <a:pt x="457" y="105"/>
                    <a:pt x="456" y="103"/>
                  </a:cubicBezTo>
                  <a:cubicBezTo>
                    <a:pt x="454" y="101"/>
                    <a:pt x="452" y="98"/>
                    <a:pt x="450" y="95"/>
                  </a:cubicBezTo>
                  <a:cubicBezTo>
                    <a:pt x="449" y="94"/>
                    <a:pt x="448" y="93"/>
                    <a:pt x="447" y="92"/>
                  </a:cubicBezTo>
                  <a:cubicBezTo>
                    <a:pt x="446" y="90"/>
                    <a:pt x="445" y="89"/>
                    <a:pt x="444" y="88"/>
                  </a:cubicBezTo>
                  <a:cubicBezTo>
                    <a:pt x="442" y="86"/>
                    <a:pt x="441" y="85"/>
                    <a:pt x="441" y="85"/>
                  </a:cubicBezTo>
                  <a:cubicBezTo>
                    <a:pt x="441" y="85"/>
                    <a:pt x="440" y="86"/>
                    <a:pt x="438" y="86"/>
                  </a:cubicBezTo>
                  <a:cubicBezTo>
                    <a:pt x="436" y="87"/>
                    <a:pt x="434" y="88"/>
                    <a:pt x="431" y="89"/>
                  </a:cubicBezTo>
                  <a:cubicBezTo>
                    <a:pt x="424" y="92"/>
                    <a:pt x="416" y="96"/>
                    <a:pt x="408" y="100"/>
                  </a:cubicBezTo>
                  <a:cubicBezTo>
                    <a:pt x="404" y="102"/>
                    <a:pt x="401" y="103"/>
                    <a:pt x="397" y="105"/>
                  </a:cubicBezTo>
                  <a:cubicBezTo>
                    <a:pt x="396" y="104"/>
                    <a:pt x="394" y="102"/>
                    <a:pt x="392" y="100"/>
                  </a:cubicBezTo>
                  <a:cubicBezTo>
                    <a:pt x="389" y="97"/>
                    <a:pt x="386" y="95"/>
                    <a:pt x="384" y="93"/>
                  </a:cubicBezTo>
                  <a:cubicBezTo>
                    <a:pt x="383" y="93"/>
                    <a:pt x="383" y="92"/>
                    <a:pt x="382" y="92"/>
                  </a:cubicBezTo>
                  <a:cubicBezTo>
                    <a:pt x="382" y="91"/>
                    <a:pt x="381" y="91"/>
                    <a:pt x="381" y="91"/>
                  </a:cubicBezTo>
                  <a:cubicBezTo>
                    <a:pt x="381" y="91"/>
                    <a:pt x="380" y="90"/>
                    <a:pt x="378" y="88"/>
                  </a:cubicBezTo>
                  <a:cubicBezTo>
                    <a:pt x="376" y="87"/>
                    <a:pt x="373" y="85"/>
                    <a:pt x="370" y="82"/>
                  </a:cubicBezTo>
                  <a:cubicBezTo>
                    <a:pt x="368" y="81"/>
                    <a:pt x="366" y="80"/>
                    <a:pt x="364" y="78"/>
                  </a:cubicBezTo>
                  <a:cubicBezTo>
                    <a:pt x="365" y="75"/>
                    <a:pt x="366" y="71"/>
                    <a:pt x="367" y="67"/>
                  </a:cubicBezTo>
                  <a:cubicBezTo>
                    <a:pt x="368" y="63"/>
                    <a:pt x="369" y="58"/>
                    <a:pt x="370" y="54"/>
                  </a:cubicBezTo>
                  <a:cubicBezTo>
                    <a:pt x="370" y="50"/>
                    <a:pt x="371" y="46"/>
                    <a:pt x="372" y="43"/>
                  </a:cubicBezTo>
                  <a:cubicBezTo>
                    <a:pt x="373" y="36"/>
                    <a:pt x="374" y="31"/>
                    <a:pt x="374" y="31"/>
                  </a:cubicBezTo>
                  <a:cubicBezTo>
                    <a:pt x="374" y="31"/>
                    <a:pt x="373" y="31"/>
                    <a:pt x="373" y="31"/>
                  </a:cubicBezTo>
                  <a:cubicBezTo>
                    <a:pt x="372" y="30"/>
                    <a:pt x="371" y="30"/>
                    <a:pt x="370" y="29"/>
                  </a:cubicBezTo>
                  <a:cubicBezTo>
                    <a:pt x="368" y="28"/>
                    <a:pt x="365" y="26"/>
                    <a:pt x="362" y="25"/>
                  </a:cubicBezTo>
                  <a:cubicBezTo>
                    <a:pt x="358" y="23"/>
                    <a:pt x="355" y="22"/>
                    <a:pt x="353" y="21"/>
                  </a:cubicBezTo>
                  <a:cubicBezTo>
                    <a:pt x="352" y="20"/>
                    <a:pt x="351" y="20"/>
                    <a:pt x="350" y="20"/>
                  </a:cubicBezTo>
                  <a:cubicBezTo>
                    <a:pt x="350" y="19"/>
                    <a:pt x="349" y="19"/>
                    <a:pt x="349" y="19"/>
                  </a:cubicBezTo>
                  <a:cubicBezTo>
                    <a:pt x="349" y="19"/>
                    <a:pt x="346" y="23"/>
                    <a:pt x="341" y="28"/>
                  </a:cubicBezTo>
                  <a:cubicBezTo>
                    <a:pt x="339" y="30"/>
                    <a:pt x="336" y="34"/>
                    <a:pt x="334" y="37"/>
                  </a:cubicBezTo>
                  <a:cubicBezTo>
                    <a:pt x="331" y="40"/>
                    <a:pt x="328" y="44"/>
                    <a:pt x="325" y="47"/>
                  </a:cubicBezTo>
                  <a:cubicBezTo>
                    <a:pt x="323" y="50"/>
                    <a:pt x="321" y="53"/>
                    <a:pt x="318" y="56"/>
                  </a:cubicBezTo>
                  <a:cubicBezTo>
                    <a:pt x="316" y="56"/>
                    <a:pt x="314" y="55"/>
                    <a:pt x="312" y="54"/>
                  </a:cubicBezTo>
                  <a:cubicBezTo>
                    <a:pt x="310" y="54"/>
                    <a:pt x="308" y="53"/>
                    <a:pt x="306" y="53"/>
                  </a:cubicBezTo>
                  <a:cubicBezTo>
                    <a:pt x="305" y="52"/>
                    <a:pt x="304" y="52"/>
                    <a:pt x="304" y="52"/>
                  </a:cubicBezTo>
                  <a:cubicBezTo>
                    <a:pt x="303" y="52"/>
                    <a:pt x="302" y="52"/>
                    <a:pt x="302" y="52"/>
                  </a:cubicBezTo>
                  <a:cubicBezTo>
                    <a:pt x="299" y="51"/>
                    <a:pt x="298" y="51"/>
                    <a:pt x="298" y="51"/>
                  </a:cubicBezTo>
                  <a:cubicBezTo>
                    <a:pt x="298" y="51"/>
                    <a:pt x="296" y="50"/>
                    <a:pt x="294" y="50"/>
                  </a:cubicBezTo>
                  <a:cubicBezTo>
                    <a:pt x="291" y="49"/>
                    <a:pt x="288" y="49"/>
                    <a:pt x="283" y="48"/>
                  </a:cubicBezTo>
                  <a:cubicBezTo>
                    <a:pt x="281" y="48"/>
                    <a:pt x="279" y="47"/>
                    <a:pt x="276" y="47"/>
                  </a:cubicBezTo>
                  <a:cubicBezTo>
                    <a:pt x="276" y="43"/>
                    <a:pt x="275" y="39"/>
                    <a:pt x="274" y="36"/>
                  </a:cubicBezTo>
                  <a:cubicBezTo>
                    <a:pt x="272" y="27"/>
                    <a:pt x="270" y="18"/>
                    <a:pt x="268" y="11"/>
                  </a:cubicBezTo>
                  <a:cubicBezTo>
                    <a:pt x="266" y="4"/>
                    <a:pt x="265" y="0"/>
                    <a:pt x="265" y="0"/>
                  </a:cubicBezTo>
                  <a:cubicBezTo>
                    <a:pt x="265" y="0"/>
                    <a:pt x="264" y="0"/>
                    <a:pt x="263" y="0"/>
                  </a:cubicBezTo>
                  <a:cubicBezTo>
                    <a:pt x="263" y="0"/>
                    <a:pt x="262" y="0"/>
                    <a:pt x="260" y="0"/>
                  </a:cubicBezTo>
                  <a:cubicBezTo>
                    <a:pt x="258" y="0"/>
                    <a:pt x="255" y="0"/>
                    <a:pt x="251" y="0"/>
                  </a:cubicBezTo>
                  <a:cubicBezTo>
                    <a:pt x="248" y="0"/>
                    <a:pt x="244" y="0"/>
                    <a:pt x="242" y="0"/>
                  </a:cubicBezTo>
                  <a:cubicBezTo>
                    <a:pt x="241" y="0"/>
                    <a:pt x="240" y="0"/>
                    <a:pt x="239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38" y="0"/>
                    <a:pt x="236" y="4"/>
                    <a:pt x="234" y="11"/>
                  </a:cubicBezTo>
                  <a:cubicBezTo>
                    <a:pt x="232" y="18"/>
                    <a:pt x="230" y="27"/>
                    <a:pt x="228" y="36"/>
                  </a:cubicBezTo>
                  <a:cubicBezTo>
                    <a:pt x="227" y="39"/>
                    <a:pt x="227" y="43"/>
                    <a:pt x="226" y="47"/>
                  </a:cubicBezTo>
                  <a:cubicBezTo>
                    <a:pt x="224" y="47"/>
                    <a:pt x="221" y="48"/>
                    <a:pt x="219" y="48"/>
                  </a:cubicBezTo>
                  <a:cubicBezTo>
                    <a:pt x="215" y="49"/>
                    <a:pt x="211" y="49"/>
                    <a:pt x="209" y="50"/>
                  </a:cubicBezTo>
                  <a:cubicBezTo>
                    <a:pt x="206" y="50"/>
                    <a:pt x="205" y="51"/>
                    <a:pt x="205" y="51"/>
                  </a:cubicBezTo>
                  <a:cubicBezTo>
                    <a:pt x="205" y="51"/>
                    <a:pt x="203" y="51"/>
                    <a:pt x="201" y="52"/>
                  </a:cubicBezTo>
                  <a:cubicBezTo>
                    <a:pt x="200" y="52"/>
                    <a:pt x="199" y="52"/>
                    <a:pt x="199" y="52"/>
                  </a:cubicBezTo>
                  <a:cubicBezTo>
                    <a:pt x="198" y="52"/>
                    <a:pt x="197" y="52"/>
                    <a:pt x="196" y="53"/>
                  </a:cubicBezTo>
                  <a:cubicBezTo>
                    <a:pt x="195" y="53"/>
                    <a:pt x="193" y="54"/>
                    <a:pt x="191" y="54"/>
                  </a:cubicBezTo>
                  <a:cubicBezTo>
                    <a:pt x="188" y="55"/>
                    <a:pt x="186" y="56"/>
                    <a:pt x="184" y="56"/>
                  </a:cubicBezTo>
                  <a:cubicBezTo>
                    <a:pt x="182" y="53"/>
                    <a:pt x="179" y="50"/>
                    <a:pt x="177" y="47"/>
                  </a:cubicBezTo>
                  <a:cubicBezTo>
                    <a:pt x="174" y="44"/>
                    <a:pt x="171" y="40"/>
                    <a:pt x="169" y="37"/>
                  </a:cubicBezTo>
                  <a:cubicBezTo>
                    <a:pt x="166" y="34"/>
                    <a:pt x="163" y="30"/>
                    <a:pt x="161" y="28"/>
                  </a:cubicBezTo>
                  <a:cubicBezTo>
                    <a:pt x="156" y="23"/>
                    <a:pt x="153" y="19"/>
                    <a:pt x="153" y="19"/>
                  </a:cubicBezTo>
                  <a:cubicBezTo>
                    <a:pt x="153" y="19"/>
                    <a:pt x="153" y="19"/>
                    <a:pt x="152" y="20"/>
                  </a:cubicBezTo>
                  <a:cubicBezTo>
                    <a:pt x="151" y="20"/>
                    <a:pt x="150" y="20"/>
                    <a:pt x="149" y="21"/>
                  </a:cubicBezTo>
                  <a:cubicBezTo>
                    <a:pt x="147" y="22"/>
                    <a:pt x="144" y="23"/>
                    <a:pt x="141" y="25"/>
                  </a:cubicBezTo>
                  <a:cubicBezTo>
                    <a:pt x="138" y="26"/>
                    <a:pt x="135" y="28"/>
                    <a:pt x="132" y="29"/>
                  </a:cubicBezTo>
                  <a:cubicBezTo>
                    <a:pt x="131" y="30"/>
                    <a:pt x="130" y="30"/>
                    <a:pt x="130" y="31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6"/>
                    <a:pt x="130" y="43"/>
                  </a:cubicBezTo>
                  <a:cubicBezTo>
                    <a:pt x="131" y="46"/>
                    <a:pt x="132" y="50"/>
                    <a:pt x="133" y="54"/>
                  </a:cubicBezTo>
                  <a:cubicBezTo>
                    <a:pt x="134" y="58"/>
                    <a:pt x="135" y="63"/>
                    <a:pt x="136" y="67"/>
                  </a:cubicBezTo>
                  <a:cubicBezTo>
                    <a:pt x="137" y="71"/>
                    <a:pt x="138" y="75"/>
                    <a:pt x="139" y="78"/>
                  </a:cubicBezTo>
                  <a:cubicBezTo>
                    <a:pt x="136" y="80"/>
                    <a:pt x="135" y="81"/>
                    <a:pt x="133" y="82"/>
                  </a:cubicBezTo>
                  <a:cubicBezTo>
                    <a:pt x="129" y="85"/>
                    <a:pt x="126" y="87"/>
                    <a:pt x="124" y="88"/>
                  </a:cubicBezTo>
                  <a:cubicBezTo>
                    <a:pt x="122" y="90"/>
                    <a:pt x="121" y="91"/>
                    <a:pt x="121" y="91"/>
                  </a:cubicBezTo>
                  <a:cubicBezTo>
                    <a:pt x="121" y="91"/>
                    <a:pt x="121" y="91"/>
                    <a:pt x="120" y="92"/>
                  </a:cubicBezTo>
                  <a:cubicBezTo>
                    <a:pt x="120" y="92"/>
                    <a:pt x="119" y="93"/>
                    <a:pt x="118" y="93"/>
                  </a:cubicBezTo>
                  <a:cubicBezTo>
                    <a:pt x="116" y="95"/>
                    <a:pt x="113" y="97"/>
                    <a:pt x="110" y="100"/>
                  </a:cubicBezTo>
                  <a:cubicBezTo>
                    <a:pt x="108" y="102"/>
                    <a:pt x="107" y="104"/>
                    <a:pt x="105" y="105"/>
                  </a:cubicBezTo>
                  <a:cubicBezTo>
                    <a:pt x="102" y="103"/>
                    <a:pt x="98" y="102"/>
                    <a:pt x="95" y="100"/>
                  </a:cubicBezTo>
                  <a:cubicBezTo>
                    <a:pt x="86" y="96"/>
                    <a:pt x="78" y="92"/>
                    <a:pt x="72" y="89"/>
                  </a:cubicBezTo>
                  <a:cubicBezTo>
                    <a:pt x="68" y="88"/>
                    <a:pt x="66" y="87"/>
                    <a:pt x="64" y="86"/>
                  </a:cubicBezTo>
                  <a:cubicBezTo>
                    <a:pt x="62" y="86"/>
                    <a:pt x="61" y="85"/>
                    <a:pt x="61" y="85"/>
                  </a:cubicBezTo>
                  <a:cubicBezTo>
                    <a:pt x="61" y="85"/>
                    <a:pt x="60" y="86"/>
                    <a:pt x="58" y="88"/>
                  </a:cubicBezTo>
                  <a:cubicBezTo>
                    <a:pt x="57" y="89"/>
                    <a:pt x="56" y="90"/>
                    <a:pt x="55" y="92"/>
                  </a:cubicBezTo>
                  <a:cubicBezTo>
                    <a:pt x="54" y="93"/>
                    <a:pt x="53" y="94"/>
                    <a:pt x="52" y="95"/>
                  </a:cubicBezTo>
                  <a:cubicBezTo>
                    <a:pt x="50" y="98"/>
                    <a:pt x="48" y="101"/>
                    <a:pt x="47" y="103"/>
                  </a:cubicBezTo>
                  <a:cubicBezTo>
                    <a:pt x="45" y="105"/>
                    <a:pt x="44" y="106"/>
                    <a:pt x="44" y="106"/>
                  </a:cubicBezTo>
                  <a:cubicBezTo>
                    <a:pt x="44" y="106"/>
                    <a:pt x="47" y="110"/>
                    <a:pt x="51" y="116"/>
                  </a:cubicBezTo>
                  <a:cubicBezTo>
                    <a:pt x="55" y="121"/>
                    <a:pt x="60" y="129"/>
                    <a:pt x="66" y="136"/>
                  </a:cubicBezTo>
                  <a:cubicBezTo>
                    <a:pt x="68" y="139"/>
                    <a:pt x="71" y="142"/>
                    <a:pt x="73" y="145"/>
                  </a:cubicBezTo>
                  <a:cubicBezTo>
                    <a:pt x="73" y="146"/>
                    <a:pt x="72" y="147"/>
                    <a:pt x="72" y="148"/>
                  </a:cubicBezTo>
                  <a:cubicBezTo>
                    <a:pt x="71" y="149"/>
                    <a:pt x="70" y="150"/>
                    <a:pt x="70" y="151"/>
                  </a:cubicBezTo>
                  <a:cubicBezTo>
                    <a:pt x="68" y="154"/>
                    <a:pt x="66" y="158"/>
                    <a:pt x="65" y="160"/>
                  </a:cubicBezTo>
                  <a:cubicBezTo>
                    <a:pt x="64" y="162"/>
                    <a:pt x="63" y="164"/>
                    <a:pt x="63" y="164"/>
                  </a:cubicBezTo>
                  <a:cubicBezTo>
                    <a:pt x="63" y="164"/>
                    <a:pt x="62" y="165"/>
                    <a:pt x="61" y="167"/>
                  </a:cubicBezTo>
                  <a:cubicBezTo>
                    <a:pt x="60" y="170"/>
                    <a:pt x="59" y="173"/>
                    <a:pt x="57" y="177"/>
                  </a:cubicBezTo>
                  <a:cubicBezTo>
                    <a:pt x="56" y="179"/>
                    <a:pt x="55" y="181"/>
                    <a:pt x="55" y="183"/>
                  </a:cubicBezTo>
                  <a:cubicBezTo>
                    <a:pt x="51" y="183"/>
                    <a:pt x="47" y="183"/>
                    <a:pt x="43" y="183"/>
                  </a:cubicBezTo>
                  <a:cubicBezTo>
                    <a:pt x="39" y="183"/>
                    <a:pt x="34" y="183"/>
                    <a:pt x="30" y="183"/>
                  </a:cubicBezTo>
                  <a:cubicBezTo>
                    <a:pt x="28" y="183"/>
                    <a:pt x="25" y="183"/>
                    <a:pt x="23" y="183"/>
                  </a:cubicBezTo>
                  <a:cubicBezTo>
                    <a:pt x="22" y="183"/>
                    <a:pt x="20" y="184"/>
                    <a:pt x="18" y="184"/>
                  </a:cubicBezTo>
                  <a:cubicBezTo>
                    <a:pt x="11" y="184"/>
                    <a:pt x="6" y="184"/>
                    <a:pt x="6" y="184"/>
                  </a:cubicBezTo>
                  <a:cubicBezTo>
                    <a:pt x="6" y="184"/>
                    <a:pt x="6" y="186"/>
                    <a:pt x="5" y="188"/>
                  </a:cubicBezTo>
                  <a:cubicBezTo>
                    <a:pt x="5" y="189"/>
                    <a:pt x="5" y="190"/>
                    <a:pt x="5" y="190"/>
                  </a:cubicBezTo>
                  <a:cubicBezTo>
                    <a:pt x="5" y="191"/>
                    <a:pt x="4" y="192"/>
                    <a:pt x="4" y="193"/>
                  </a:cubicBezTo>
                  <a:cubicBezTo>
                    <a:pt x="4" y="194"/>
                    <a:pt x="3" y="196"/>
                    <a:pt x="3" y="198"/>
                  </a:cubicBezTo>
                  <a:cubicBezTo>
                    <a:pt x="3" y="199"/>
                    <a:pt x="2" y="201"/>
                    <a:pt x="2" y="202"/>
                  </a:cubicBezTo>
                  <a:cubicBezTo>
                    <a:pt x="2" y="204"/>
                    <a:pt x="1" y="205"/>
                    <a:pt x="1" y="207"/>
                  </a:cubicBezTo>
                  <a:cubicBezTo>
                    <a:pt x="1" y="209"/>
                    <a:pt x="0" y="211"/>
                    <a:pt x="0" y="211"/>
                  </a:cubicBezTo>
                  <a:cubicBezTo>
                    <a:pt x="0" y="211"/>
                    <a:pt x="4" y="213"/>
                    <a:pt x="10" y="217"/>
                  </a:cubicBezTo>
                  <a:cubicBezTo>
                    <a:pt x="17" y="220"/>
                    <a:pt x="25" y="224"/>
                    <a:pt x="33" y="228"/>
                  </a:cubicBezTo>
                  <a:cubicBezTo>
                    <a:pt x="37" y="230"/>
                    <a:pt x="40" y="231"/>
                    <a:pt x="43" y="233"/>
                  </a:cubicBezTo>
                  <a:cubicBezTo>
                    <a:pt x="43" y="235"/>
                    <a:pt x="43" y="237"/>
                    <a:pt x="43" y="239"/>
                  </a:cubicBezTo>
                  <a:cubicBezTo>
                    <a:pt x="43" y="244"/>
                    <a:pt x="43" y="248"/>
                    <a:pt x="42" y="250"/>
                  </a:cubicBezTo>
                  <a:cubicBezTo>
                    <a:pt x="42" y="253"/>
                    <a:pt x="42" y="254"/>
                    <a:pt x="42" y="254"/>
                  </a:cubicBezTo>
                  <a:cubicBezTo>
                    <a:pt x="42" y="254"/>
                    <a:pt x="42" y="256"/>
                    <a:pt x="42" y="258"/>
                  </a:cubicBezTo>
                  <a:cubicBezTo>
                    <a:pt x="43" y="261"/>
                    <a:pt x="43" y="264"/>
                    <a:pt x="43" y="269"/>
                  </a:cubicBezTo>
                  <a:cubicBezTo>
                    <a:pt x="43" y="271"/>
                    <a:pt x="43" y="273"/>
                    <a:pt x="43" y="276"/>
                  </a:cubicBezTo>
                  <a:cubicBezTo>
                    <a:pt x="40" y="277"/>
                    <a:pt x="37" y="279"/>
                    <a:pt x="33" y="280"/>
                  </a:cubicBezTo>
                  <a:cubicBezTo>
                    <a:pt x="25" y="284"/>
                    <a:pt x="17" y="288"/>
                    <a:pt x="10" y="292"/>
                  </a:cubicBezTo>
                  <a:cubicBezTo>
                    <a:pt x="4" y="295"/>
                    <a:pt x="0" y="297"/>
                    <a:pt x="0" y="297"/>
                  </a:cubicBezTo>
                  <a:cubicBezTo>
                    <a:pt x="0" y="297"/>
                    <a:pt x="1" y="299"/>
                    <a:pt x="1" y="302"/>
                  </a:cubicBezTo>
                  <a:cubicBezTo>
                    <a:pt x="1" y="303"/>
                    <a:pt x="2" y="304"/>
                    <a:pt x="2" y="306"/>
                  </a:cubicBezTo>
                  <a:cubicBezTo>
                    <a:pt x="2" y="307"/>
                    <a:pt x="3" y="309"/>
                    <a:pt x="3" y="311"/>
                  </a:cubicBezTo>
                  <a:cubicBezTo>
                    <a:pt x="3" y="312"/>
                    <a:pt x="4" y="314"/>
                    <a:pt x="4" y="316"/>
                  </a:cubicBezTo>
                  <a:cubicBezTo>
                    <a:pt x="4" y="316"/>
                    <a:pt x="5" y="317"/>
                    <a:pt x="5" y="318"/>
                  </a:cubicBezTo>
                  <a:cubicBezTo>
                    <a:pt x="5" y="318"/>
                    <a:pt x="5" y="319"/>
                    <a:pt x="5" y="320"/>
                  </a:cubicBezTo>
                  <a:cubicBezTo>
                    <a:pt x="6" y="322"/>
                    <a:pt x="6" y="324"/>
                    <a:pt x="6" y="324"/>
                  </a:cubicBezTo>
                  <a:cubicBezTo>
                    <a:pt x="6" y="324"/>
                    <a:pt x="11" y="324"/>
                    <a:pt x="18" y="325"/>
                  </a:cubicBezTo>
                  <a:cubicBezTo>
                    <a:pt x="20" y="325"/>
                    <a:pt x="22" y="325"/>
                    <a:pt x="23" y="325"/>
                  </a:cubicBezTo>
                  <a:cubicBezTo>
                    <a:pt x="25" y="325"/>
                    <a:pt x="28" y="325"/>
                    <a:pt x="30" y="325"/>
                  </a:cubicBezTo>
                  <a:cubicBezTo>
                    <a:pt x="34" y="325"/>
                    <a:pt x="39" y="325"/>
                    <a:pt x="43" y="325"/>
                  </a:cubicBezTo>
                  <a:cubicBezTo>
                    <a:pt x="47" y="325"/>
                    <a:pt x="51" y="325"/>
                    <a:pt x="55" y="325"/>
                  </a:cubicBezTo>
                  <a:cubicBezTo>
                    <a:pt x="55" y="327"/>
                    <a:pt x="56" y="329"/>
                    <a:pt x="57" y="331"/>
                  </a:cubicBezTo>
                  <a:cubicBezTo>
                    <a:pt x="59" y="335"/>
                    <a:pt x="60" y="339"/>
                    <a:pt x="61" y="341"/>
                  </a:cubicBezTo>
                  <a:cubicBezTo>
                    <a:pt x="62" y="343"/>
                    <a:pt x="63" y="345"/>
                    <a:pt x="63" y="345"/>
                  </a:cubicBezTo>
                  <a:cubicBezTo>
                    <a:pt x="63" y="345"/>
                    <a:pt x="64" y="346"/>
                    <a:pt x="65" y="348"/>
                  </a:cubicBezTo>
                  <a:cubicBezTo>
                    <a:pt x="66" y="351"/>
                    <a:pt x="68" y="354"/>
                    <a:pt x="70" y="358"/>
                  </a:cubicBezTo>
                  <a:cubicBezTo>
                    <a:pt x="70" y="359"/>
                    <a:pt x="71" y="360"/>
                    <a:pt x="72" y="361"/>
                  </a:cubicBezTo>
                  <a:cubicBezTo>
                    <a:pt x="72" y="362"/>
                    <a:pt x="73" y="363"/>
                    <a:pt x="73" y="364"/>
                  </a:cubicBezTo>
                  <a:cubicBezTo>
                    <a:pt x="71" y="366"/>
                    <a:pt x="68" y="369"/>
                    <a:pt x="66" y="372"/>
                  </a:cubicBezTo>
                  <a:cubicBezTo>
                    <a:pt x="60" y="379"/>
                    <a:pt x="55" y="387"/>
                    <a:pt x="51" y="392"/>
                  </a:cubicBezTo>
                  <a:cubicBezTo>
                    <a:pt x="47" y="398"/>
                    <a:pt x="44" y="402"/>
                    <a:pt x="44" y="402"/>
                  </a:cubicBezTo>
                  <a:cubicBezTo>
                    <a:pt x="44" y="402"/>
                    <a:pt x="45" y="403"/>
                    <a:pt x="47" y="405"/>
                  </a:cubicBezTo>
                  <a:cubicBezTo>
                    <a:pt x="48" y="407"/>
                    <a:pt x="50" y="410"/>
                    <a:pt x="52" y="413"/>
                  </a:cubicBezTo>
                  <a:cubicBezTo>
                    <a:pt x="53" y="414"/>
                    <a:pt x="54" y="415"/>
                    <a:pt x="55" y="417"/>
                  </a:cubicBezTo>
                  <a:cubicBezTo>
                    <a:pt x="56" y="418"/>
                    <a:pt x="57" y="419"/>
                    <a:pt x="58" y="420"/>
                  </a:cubicBezTo>
                  <a:cubicBezTo>
                    <a:pt x="60" y="422"/>
                    <a:pt x="61" y="423"/>
                    <a:pt x="61" y="423"/>
                  </a:cubicBezTo>
                  <a:cubicBezTo>
                    <a:pt x="61" y="423"/>
                    <a:pt x="62" y="423"/>
                    <a:pt x="64" y="422"/>
                  </a:cubicBezTo>
                  <a:cubicBezTo>
                    <a:pt x="66" y="421"/>
                    <a:pt x="68" y="420"/>
                    <a:pt x="72" y="419"/>
                  </a:cubicBezTo>
                  <a:cubicBezTo>
                    <a:pt x="78" y="416"/>
                    <a:pt x="86" y="412"/>
                    <a:pt x="95" y="408"/>
                  </a:cubicBezTo>
                  <a:cubicBezTo>
                    <a:pt x="98" y="407"/>
                    <a:pt x="102" y="405"/>
                    <a:pt x="105" y="403"/>
                  </a:cubicBezTo>
                  <a:cubicBezTo>
                    <a:pt x="107" y="405"/>
                    <a:pt x="108" y="406"/>
                    <a:pt x="110" y="408"/>
                  </a:cubicBezTo>
                  <a:cubicBezTo>
                    <a:pt x="113" y="411"/>
                    <a:pt x="116" y="413"/>
                    <a:pt x="118" y="415"/>
                  </a:cubicBezTo>
                  <a:cubicBezTo>
                    <a:pt x="119" y="416"/>
                    <a:pt x="120" y="416"/>
                    <a:pt x="120" y="417"/>
                  </a:cubicBezTo>
                  <a:cubicBezTo>
                    <a:pt x="121" y="417"/>
                    <a:pt x="121" y="417"/>
                    <a:pt x="121" y="417"/>
                  </a:cubicBezTo>
                  <a:cubicBezTo>
                    <a:pt x="121" y="417"/>
                    <a:pt x="122" y="418"/>
                    <a:pt x="124" y="420"/>
                  </a:cubicBezTo>
                  <a:cubicBezTo>
                    <a:pt x="126" y="421"/>
                    <a:pt x="129" y="423"/>
                    <a:pt x="133" y="426"/>
                  </a:cubicBezTo>
                  <a:cubicBezTo>
                    <a:pt x="135" y="427"/>
                    <a:pt x="136" y="429"/>
                    <a:pt x="139" y="430"/>
                  </a:cubicBezTo>
                  <a:cubicBezTo>
                    <a:pt x="138" y="433"/>
                    <a:pt x="137" y="437"/>
                    <a:pt x="136" y="441"/>
                  </a:cubicBezTo>
                  <a:cubicBezTo>
                    <a:pt x="135" y="446"/>
                    <a:pt x="134" y="450"/>
                    <a:pt x="133" y="454"/>
                  </a:cubicBezTo>
                  <a:cubicBezTo>
                    <a:pt x="132" y="458"/>
                    <a:pt x="131" y="462"/>
                    <a:pt x="130" y="466"/>
                  </a:cubicBezTo>
                  <a:cubicBezTo>
                    <a:pt x="129" y="473"/>
                    <a:pt x="129" y="477"/>
                    <a:pt x="129" y="477"/>
                  </a:cubicBezTo>
                  <a:cubicBezTo>
                    <a:pt x="129" y="477"/>
                    <a:pt x="129" y="477"/>
                    <a:pt x="130" y="478"/>
                  </a:cubicBezTo>
                  <a:cubicBezTo>
                    <a:pt x="130" y="478"/>
                    <a:pt x="131" y="479"/>
                    <a:pt x="132" y="479"/>
                  </a:cubicBezTo>
                  <a:cubicBezTo>
                    <a:pt x="135" y="480"/>
                    <a:pt x="138" y="482"/>
                    <a:pt x="141" y="483"/>
                  </a:cubicBezTo>
                  <a:cubicBezTo>
                    <a:pt x="144" y="485"/>
                    <a:pt x="147" y="486"/>
                    <a:pt x="149" y="487"/>
                  </a:cubicBezTo>
                  <a:cubicBezTo>
                    <a:pt x="150" y="488"/>
                    <a:pt x="151" y="488"/>
                    <a:pt x="152" y="489"/>
                  </a:cubicBezTo>
                  <a:cubicBezTo>
                    <a:pt x="153" y="489"/>
                    <a:pt x="153" y="489"/>
                    <a:pt x="153" y="489"/>
                  </a:cubicBezTo>
                  <a:cubicBezTo>
                    <a:pt x="153" y="489"/>
                    <a:pt x="156" y="486"/>
                    <a:pt x="161" y="480"/>
                  </a:cubicBezTo>
                  <a:cubicBezTo>
                    <a:pt x="163" y="478"/>
                    <a:pt x="166" y="475"/>
                    <a:pt x="169" y="471"/>
                  </a:cubicBezTo>
                  <a:cubicBezTo>
                    <a:pt x="171" y="468"/>
                    <a:pt x="174" y="465"/>
                    <a:pt x="177" y="461"/>
                  </a:cubicBezTo>
                  <a:cubicBezTo>
                    <a:pt x="179" y="458"/>
                    <a:pt x="182" y="455"/>
                    <a:pt x="184" y="452"/>
                  </a:cubicBezTo>
                  <a:cubicBezTo>
                    <a:pt x="186" y="453"/>
                    <a:pt x="188" y="453"/>
                    <a:pt x="191" y="454"/>
                  </a:cubicBezTo>
                  <a:cubicBezTo>
                    <a:pt x="193" y="455"/>
                    <a:pt x="195" y="455"/>
                    <a:pt x="196" y="456"/>
                  </a:cubicBezTo>
                  <a:cubicBezTo>
                    <a:pt x="197" y="456"/>
                    <a:pt x="198" y="456"/>
                    <a:pt x="199" y="456"/>
                  </a:cubicBezTo>
                  <a:cubicBezTo>
                    <a:pt x="199" y="456"/>
                    <a:pt x="200" y="457"/>
                    <a:pt x="201" y="457"/>
                  </a:cubicBezTo>
                  <a:cubicBezTo>
                    <a:pt x="203" y="457"/>
                    <a:pt x="205" y="458"/>
                    <a:pt x="205" y="458"/>
                  </a:cubicBezTo>
                  <a:cubicBezTo>
                    <a:pt x="205" y="458"/>
                    <a:pt x="206" y="458"/>
                    <a:pt x="209" y="459"/>
                  </a:cubicBezTo>
                  <a:cubicBezTo>
                    <a:pt x="211" y="459"/>
                    <a:pt x="215" y="460"/>
                    <a:pt x="219" y="460"/>
                  </a:cubicBezTo>
                  <a:cubicBezTo>
                    <a:pt x="221" y="461"/>
                    <a:pt x="224" y="461"/>
                    <a:pt x="226" y="461"/>
                  </a:cubicBezTo>
                  <a:cubicBezTo>
                    <a:pt x="227" y="465"/>
                    <a:pt x="227" y="469"/>
                    <a:pt x="228" y="473"/>
                  </a:cubicBezTo>
                  <a:cubicBezTo>
                    <a:pt x="230" y="482"/>
                    <a:pt x="232" y="490"/>
                    <a:pt x="234" y="497"/>
                  </a:cubicBezTo>
                  <a:cubicBezTo>
                    <a:pt x="236" y="504"/>
                    <a:pt x="238" y="508"/>
                    <a:pt x="238" y="508"/>
                  </a:cubicBezTo>
                  <a:cubicBezTo>
                    <a:pt x="238" y="508"/>
                    <a:pt x="238" y="508"/>
                    <a:pt x="239" y="508"/>
                  </a:cubicBezTo>
                  <a:cubicBezTo>
                    <a:pt x="240" y="508"/>
                    <a:pt x="241" y="508"/>
                    <a:pt x="242" y="508"/>
                  </a:cubicBezTo>
                  <a:cubicBezTo>
                    <a:pt x="244" y="508"/>
                    <a:pt x="248" y="508"/>
                    <a:pt x="251" y="509"/>
                  </a:cubicBezTo>
                  <a:cubicBezTo>
                    <a:pt x="255" y="508"/>
                    <a:pt x="258" y="508"/>
                    <a:pt x="260" y="508"/>
                  </a:cubicBezTo>
                  <a:cubicBezTo>
                    <a:pt x="262" y="508"/>
                    <a:pt x="263" y="508"/>
                    <a:pt x="263" y="508"/>
                  </a:cubicBezTo>
                  <a:cubicBezTo>
                    <a:pt x="264" y="508"/>
                    <a:pt x="265" y="508"/>
                    <a:pt x="265" y="508"/>
                  </a:cubicBezTo>
                  <a:cubicBezTo>
                    <a:pt x="265" y="508"/>
                    <a:pt x="266" y="504"/>
                    <a:pt x="268" y="497"/>
                  </a:cubicBezTo>
                  <a:cubicBezTo>
                    <a:pt x="270" y="490"/>
                    <a:pt x="272" y="482"/>
                    <a:pt x="274" y="473"/>
                  </a:cubicBezTo>
                  <a:cubicBezTo>
                    <a:pt x="275" y="469"/>
                    <a:pt x="276" y="465"/>
                    <a:pt x="276" y="461"/>
                  </a:cubicBezTo>
                  <a:cubicBezTo>
                    <a:pt x="279" y="461"/>
                    <a:pt x="281" y="461"/>
                    <a:pt x="283" y="460"/>
                  </a:cubicBezTo>
                  <a:cubicBezTo>
                    <a:pt x="288" y="460"/>
                    <a:pt x="291" y="459"/>
                    <a:pt x="294" y="459"/>
                  </a:cubicBezTo>
                  <a:cubicBezTo>
                    <a:pt x="296" y="458"/>
                    <a:pt x="298" y="458"/>
                    <a:pt x="298" y="458"/>
                  </a:cubicBezTo>
                  <a:cubicBezTo>
                    <a:pt x="298" y="458"/>
                    <a:pt x="299" y="457"/>
                    <a:pt x="302" y="457"/>
                  </a:cubicBezTo>
                  <a:cubicBezTo>
                    <a:pt x="302" y="457"/>
                    <a:pt x="303" y="456"/>
                    <a:pt x="304" y="456"/>
                  </a:cubicBezTo>
                  <a:cubicBezTo>
                    <a:pt x="304" y="456"/>
                    <a:pt x="305" y="456"/>
                    <a:pt x="306" y="456"/>
                  </a:cubicBezTo>
                  <a:cubicBezTo>
                    <a:pt x="308" y="455"/>
                    <a:pt x="310" y="455"/>
                    <a:pt x="312" y="454"/>
                  </a:cubicBezTo>
                  <a:cubicBezTo>
                    <a:pt x="314" y="453"/>
                    <a:pt x="316" y="453"/>
                    <a:pt x="318" y="452"/>
                  </a:cubicBezTo>
                  <a:cubicBezTo>
                    <a:pt x="321" y="455"/>
                    <a:pt x="323" y="458"/>
                    <a:pt x="325" y="461"/>
                  </a:cubicBezTo>
                  <a:cubicBezTo>
                    <a:pt x="328" y="465"/>
                    <a:pt x="331" y="468"/>
                    <a:pt x="334" y="471"/>
                  </a:cubicBezTo>
                  <a:cubicBezTo>
                    <a:pt x="336" y="475"/>
                    <a:pt x="339" y="478"/>
                    <a:pt x="341" y="480"/>
                  </a:cubicBezTo>
                  <a:cubicBezTo>
                    <a:pt x="346" y="486"/>
                    <a:pt x="349" y="489"/>
                    <a:pt x="349" y="489"/>
                  </a:cubicBezTo>
                  <a:cubicBezTo>
                    <a:pt x="349" y="489"/>
                    <a:pt x="350" y="489"/>
                    <a:pt x="350" y="489"/>
                  </a:cubicBezTo>
                  <a:cubicBezTo>
                    <a:pt x="351" y="488"/>
                    <a:pt x="352" y="488"/>
                    <a:pt x="353" y="487"/>
                  </a:cubicBezTo>
                  <a:cubicBezTo>
                    <a:pt x="355" y="486"/>
                    <a:pt x="358" y="485"/>
                    <a:pt x="362" y="483"/>
                  </a:cubicBezTo>
                  <a:cubicBezTo>
                    <a:pt x="365" y="482"/>
                    <a:pt x="368" y="480"/>
                    <a:pt x="370" y="479"/>
                  </a:cubicBezTo>
                  <a:cubicBezTo>
                    <a:pt x="371" y="479"/>
                    <a:pt x="372" y="478"/>
                    <a:pt x="373" y="478"/>
                  </a:cubicBezTo>
                  <a:cubicBezTo>
                    <a:pt x="373" y="477"/>
                    <a:pt x="374" y="477"/>
                    <a:pt x="374" y="477"/>
                  </a:cubicBezTo>
                  <a:cubicBezTo>
                    <a:pt x="374" y="477"/>
                    <a:pt x="373" y="473"/>
                    <a:pt x="372" y="466"/>
                  </a:cubicBezTo>
                  <a:cubicBezTo>
                    <a:pt x="371" y="462"/>
                    <a:pt x="370" y="458"/>
                    <a:pt x="370" y="454"/>
                  </a:cubicBezTo>
                  <a:cubicBezTo>
                    <a:pt x="369" y="450"/>
                    <a:pt x="368" y="446"/>
                    <a:pt x="367" y="441"/>
                  </a:cubicBezTo>
                  <a:cubicBezTo>
                    <a:pt x="366" y="437"/>
                    <a:pt x="365" y="433"/>
                    <a:pt x="364" y="430"/>
                  </a:cubicBezTo>
                  <a:cubicBezTo>
                    <a:pt x="366" y="429"/>
                    <a:pt x="368" y="427"/>
                    <a:pt x="370" y="426"/>
                  </a:cubicBezTo>
                  <a:cubicBezTo>
                    <a:pt x="373" y="423"/>
                    <a:pt x="376" y="421"/>
                    <a:pt x="378" y="420"/>
                  </a:cubicBezTo>
                  <a:cubicBezTo>
                    <a:pt x="380" y="418"/>
                    <a:pt x="381" y="417"/>
                    <a:pt x="381" y="417"/>
                  </a:cubicBezTo>
                  <a:cubicBezTo>
                    <a:pt x="381" y="417"/>
                    <a:pt x="382" y="417"/>
                    <a:pt x="382" y="417"/>
                  </a:cubicBezTo>
                  <a:cubicBezTo>
                    <a:pt x="383" y="416"/>
                    <a:pt x="383" y="416"/>
                    <a:pt x="384" y="415"/>
                  </a:cubicBezTo>
                  <a:cubicBezTo>
                    <a:pt x="386" y="413"/>
                    <a:pt x="389" y="411"/>
                    <a:pt x="392" y="408"/>
                  </a:cubicBezTo>
                  <a:cubicBezTo>
                    <a:pt x="394" y="406"/>
                    <a:pt x="396" y="405"/>
                    <a:pt x="397" y="403"/>
                  </a:cubicBezTo>
                  <a:cubicBezTo>
                    <a:pt x="401" y="405"/>
                    <a:pt x="404" y="407"/>
                    <a:pt x="408" y="408"/>
                  </a:cubicBezTo>
                  <a:cubicBezTo>
                    <a:pt x="416" y="412"/>
                    <a:pt x="424" y="416"/>
                    <a:pt x="431" y="419"/>
                  </a:cubicBezTo>
                  <a:cubicBezTo>
                    <a:pt x="434" y="420"/>
                    <a:pt x="436" y="421"/>
                    <a:pt x="438" y="422"/>
                  </a:cubicBezTo>
                  <a:cubicBezTo>
                    <a:pt x="440" y="423"/>
                    <a:pt x="441" y="423"/>
                    <a:pt x="441" y="423"/>
                  </a:cubicBezTo>
                  <a:cubicBezTo>
                    <a:pt x="441" y="423"/>
                    <a:pt x="442" y="422"/>
                    <a:pt x="444" y="420"/>
                  </a:cubicBezTo>
                  <a:cubicBezTo>
                    <a:pt x="445" y="419"/>
                    <a:pt x="446" y="418"/>
                    <a:pt x="447" y="417"/>
                  </a:cubicBezTo>
                  <a:cubicBezTo>
                    <a:pt x="448" y="415"/>
                    <a:pt x="449" y="414"/>
                    <a:pt x="450" y="413"/>
                  </a:cubicBezTo>
                  <a:cubicBezTo>
                    <a:pt x="452" y="410"/>
                    <a:pt x="454" y="407"/>
                    <a:pt x="456" y="405"/>
                  </a:cubicBezTo>
                  <a:cubicBezTo>
                    <a:pt x="457" y="403"/>
                    <a:pt x="458" y="402"/>
                    <a:pt x="458" y="402"/>
                  </a:cubicBezTo>
                  <a:cubicBezTo>
                    <a:pt x="458" y="402"/>
                    <a:pt x="456" y="398"/>
                    <a:pt x="452" y="392"/>
                  </a:cubicBezTo>
                  <a:cubicBezTo>
                    <a:pt x="448" y="387"/>
                    <a:pt x="442" y="379"/>
                    <a:pt x="436" y="372"/>
                  </a:cubicBezTo>
                  <a:cubicBezTo>
                    <a:pt x="434" y="369"/>
                    <a:pt x="431" y="366"/>
                    <a:pt x="429" y="364"/>
                  </a:cubicBezTo>
                  <a:cubicBezTo>
                    <a:pt x="430" y="363"/>
                    <a:pt x="430" y="362"/>
                    <a:pt x="431" y="361"/>
                  </a:cubicBezTo>
                  <a:cubicBezTo>
                    <a:pt x="431" y="360"/>
                    <a:pt x="432" y="359"/>
                    <a:pt x="432" y="358"/>
                  </a:cubicBezTo>
                  <a:cubicBezTo>
                    <a:pt x="435" y="354"/>
                    <a:pt x="436" y="351"/>
                    <a:pt x="437" y="348"/>
                  </a:cubicBezTo>
                  <a:cubicBezTo>
                    <a:pt x="439" y="346"/>
                    <a:pt x="439" y="345"/>
                    <a:pt x="439" y="345"/>
                  </a:cubicBezTo>
                  <a:cubicBezTo>
                    <a:pt x="439" y="345"/>
                    <a:pt x="440" y="343"/>
                    <a:pt x="441" y="341"/>
                  </a:cubicBezTo>
                  <a:cubicBezTo>
                    <a:pt x="442" y="339"/>
                    <a:pt x="444" y="335"/>
                    <a:pt x="445" y="331"/>
                  </a:cubicBezTo>
                  <a:cubicBezTo>
                    <a:pt x="446" y="329"/>
                    <a:pt x="447" y="327"/>
                    <a:pt x="448" y="325"/>
                  </a:cubicBezTo>
                  <a:cubicBezTo>
                    <a:pt x="451" y="325"/>
                    <a:pt x="455" y="325"/>
                    <a:pt x="459" y="325"/>
                  </a:cubicBezTo>
                  <a:cubicBezTo>
                    <a:pt x="464" y="325"/>
                    <a:pt x="468" y="325"/>
                    <a:pt x="473" y="325"/>
                  </a:cubicBezTo>
                  <a:cubicBezTo>
                    <a:pt x="475" y="325"/>
                    <a:pt x="477" y="325"/>
                    <a:pt x="479" y="325"/>
                  </a:cubicBezTo>
                  <a:cubicBezTo>
                    <a:pt x="481" y="325"/>
                    <a:pt x="483" y="325"/>
                    <a:pt x="484" y="325"/>
                  </a:cubicBezTo>
                  <a:cubicBezTo>
                    <a:pt x="491" y="324"/>
                    <a:pt x="496" y="324"/>
                    <a:pt x="496" y="324"/>
                  </a:cubicBezTo>
                  <a:cubicBezTo>
                    <a:pt x="496" y="324"/>
                    <a:pt x="496" y="322"/>
                    <a:pt x="497" y="320"/>
                  </a:cubicBezTo>
                  <a:cubicBezTo>
                    <a:pt x="497" y="319"/>
                    <a:pt x="497" y="318"/>
                    <a:pt x="498" y="318"/>
                  </a:cubicBezTo>
                  <a:cubicBezTo>
                    <a:pt x="498" y="317"/>
                    <a:pt x="498" y="316"/>
                    <a:pt x="498" y="316"/>
                  </a:cubicBezTo>
                  <a:cubicBezTo>
                    <a:pt x="498" y="314"/>
                    <a:pt x="499" y="312"/>
                    <a:pt x="499" y="311"/>
                  </a:cubicBezTo>
                  <a:cubicBezTo>
                    <a:pt x="500" y="309"/>
                    <a:pt x="500" y="307"/>
                    <a:pt x="500" y="306"/>
                  </a:cubicBezTo>
                  <a:cubicBezTo>
                    <a:pt x="501" y="304"/>
                    <a:pt x="501" y="303"/>
                    <a:pt x="501" y="302"/>
                  </a:cubicBezTo>
                  <a:cubicBezTo>
                    <a:pt x="502" y="299"/>
                    <a:pt x="502" y="297"/>
                    <a:pt x="502" y="297"/>
                  </a:cubicBezTo>
                  <a:cubicBezTo>
                    <a:pt x="502" y="297"/>
                    <a:pt x="498" y="295"/>
                    <a:pt x="492" y="292"/>
                  </a:cubicBezTo>
                  <a:cubicBezTo>
                    <a:pt x="486" y="288"/>
                    <a:pt x="477" y="284"/>
                    <a:pt x="469" y="280"/>
                  </a:cubicBezTo>
                  <a:close/>
                  <a:moveTo>
                    <a:pt x="251" y="408"/>
                  </a:moveTo>
                  <a:cubicBezTo>
                    <a:pt x="166" y="408"/>
                    <a:pt x="98" y="339"/>
                    <a:pt x="98" y="254"/>
                  </a:cubicBezTo>
                  <a:cubicBezTo>
                    <a:pt x="98" y="169"/>
                    <a:pt x="166" y="101"/>
                    <a:pt x="251" y="101"/>
                  </a:cubicBezTo>
                  <a:cubicBezTo>
                    <a:pt x="336" y="101"/>
                    <a:pt x="405" y="169"/>
                    <a:pt x="405" y="254"/>
                  </a:cubicBezTo>
                  <a:cubicBezTo>
                    <a:pt x="405" y="339"/>
                    <a:pt x="336" y="408"/>
                    <a:pt x="251" y="40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rPr>
                <a:t>03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8" name="ïṥḷïďé"/>
            <p:cNvSpPr/>
            <p:nvPr/>
          </p:nvSpPr>
          <p:spPr bwMode="auto">
            <a:xfrm>
              <a:off x="4529932" y="3403600"/>
              <a:ext cx="1239837" cy="1255713"/>
            </a:xfrm>
            <a:custGeom>
              <a:avLst/>
              <a:gdLst>
                <a:gd name="T0" fmla="*/ 302 w 330"/>
                <a:gd name="T1" fmla="*/ 167 h 334"/>
                <a:gd name="T2" fmla="*/ 323 w 330"/>
                <a:gd name="T3" fmla="*/ 143 h 334"/>
                <a:gd name="T4" fmla="*/ 327 w 330"/>
                <a:gd name="T5" fmla="*/ 127 h 334"/>
                <a:gd name="T6" fmla="*/ 314 w 330"/>
                <a:gd name="T7" fmla="*/ 121 h 334"/>
                <a:gd name="T8" fmla="*/ 290 w 330"/>
                <a:gd name="T9" fmla="*/ 110 h 334"/>
                <a:gd name="T10" fmla="*/ 282 w 330"/>
                <a:gd name="T11" fmla="*/ 95 h 334"/>
                <a:gd name="T12" fmla="*/ 296 w 330"/>
                <a:gd name="T13" fmla="*/ 63 h 334"/>
                <a:gd name="T14" fmla="*/ 283 w 330"/>
                <a:gd name="T15" fmla="*/ 59 h 334"/>
                <a:gd name="T16" fmla="*/ 251 w 330"/>
                <a:gd name="T17" fmla="*/ 60 h 334"/>
                <a:gd name="T18" fmla="*/ 241 w 330"/>
                <a:gd name="T19" fmla="*/ 44 h 334"/>
                <a:gd name="T20" fmla="*/ 243 w 330"/>
                <a:gd name="T21" fmla="*/ 19 h 334"/>
                <a:gd name="T22" fmla="*/ 224 w 330"/>
                <a:gd name="T23" fmla="*/ 19 h 334"/>
                <a:gd name="T24" fmla="*/ 201 w 330"/>
                <a:gd name="T25" fmla="*/ 35 h 334"/>
                <a:gd name="T26" fmla="*/ 186 w 330"/>
                <a:gd name="T27" fmla="*/ 32 h 334"/>
                <a:gd name="T28" fmla="*/ 173 w 330"/>
                <a:gd name="T29" fmla="*/ 0 h 334"/>
                <a:gd name="T30" fmla="*/ 156 w 330"/>
                <a:gd name="T31" fmla="*/ 0 h 334"/>
                <a:gd name="T32" fmla="*/ 137 w 330"/>
                <a:gd name="T33" fmla="*/ 33 h 334"/>
                <a:gd name="T34" fmla="*/ 125 w 330"/>
                <a:gd name="T35" fmla="*/ 36 h 334"/>
                <a:gd name="T36" fmla="*/ 101 w 330"/>
                <a:gd name="T37" fmla="*/ 13 h 334"/>
                <a:gd name="T38" fmla="*/ 85 w 330"/>
                <a:gd name="T39" fmla="*/ 20 h 334"/>
                <a:gd name="T40" fmla="*/ 91 w 330"/>
                <a:gd name="T41" fmla="*/ 52 h 334"/>
                <a:gd name="T42" fmla="*/ 77 w 330"/>
                <a:gd name="T43" fmla="*/ 62 h 334"/>
                <a:gd name="T44" fmla="*/ 42 w 330"/>
                <a:gd name="T45" fmla="*/ 57 h 334"/>
                <a:gd name="T46" fmla="*/ 31 w 330"/>
                <a:gd name="T47" fmla="*/ 68 h 334"/>
                <a:gd name="T48" fmla="*/ 47 w 330"/>
                <a:gd name="T49" fmla="*/ 97 h 334"/>
                <a:gd name="T50" fmla="*/ 38 w 330"/>
                <a:gd name="T51" fmla="*/ 117 h 334"/>
                <a:gd name="T52" fmla="*/ 12 w 330"/>
                <a:gd name="T53" fmla="*/ 121 h 334"/>
                <a:gd name="T54" fmla="*/ 2 w 330"/>
                <a:gd name="T55" fmla="*/ 130 h 334"/>
                <a:gd name="T56" fmla="*/ 22 w 330"/>
                <a:gd name="T57" fmla="*/ 150 h 334"/>
                <a:gd name="T58" fmla="*/ 28 w 330"/>
                <a:gd name="T59" fmla="*/ 170 h 334"/>
                <a:gd name="T60" fmla="*/ 0 w 330"/>
                <a:gd name="T61" fmla="*/ 196 h 334"/>
                <a:gd name="T62" fmla="*/ 3 w 330"/>
                <a:gd name="T63" fmla="*/ 209 h 334"/>
                <a:gd name="T64" fmla="*/ 19 w 330"/>
                <a:gd name="T65" fmla="*/ 214 h 334"/>
                <a:gd name="T66" fmla="*/ 41 w 330"/>
                <a:gd name="T67" fmla="*/ 227 h 334"/>
                <a:gd name="T68" fmla="*/ 43 w 330"/>
                <a:gd name="T69" fmla="*/ 245 h 334"/>
                <a:gd name="T70" fmla="*/ 36 w 330"/>
                <a:gd name="T71" fmla="*/ 274 h 334"/>
                <a:gd name="T72" fmla="*/ 62 w 330"/>
                <a:gd name="T73" fmla="*/ 268 h 334"/>
                <a:gd name="T74" fmla="*/ 79 w 330"/>
                <a:gd name="T75" fmla="*/ 274 h 334"/>
                <a:gd name="T76" fmla="*/ 87 w 330"/>
                <a:gd name="T77" fmla="*/ 299 h 334"/>
                <a:gd name="T78" fmla="*/ 92 w 330"/>
                <a:gd name="T79" fmla="*/ 318 h 334"/>
                <a:gd name="T80" fmla="*/ 111 w 330"/>
                <a:gd name="T81" fmla="*/ 310 h 334"/>
                <a:gd name="T82" fmla="*/ 130 w 330"/>
                <a:gd name="T83" fmla="*/ 300 h 334"/>
                <a:gd name="T84" fmla="*/ 148 w 330"/>
                <a:gd name="T85" fmla="*/ 303 h 334"/>
                <a:gd name="T86" fmla="*/ 159 w 330"/>
                <a:gd name="T87" fmla="*/ 334 h 334"/>
                <a:gd name="T88" fmla="*/ 176 w 330"/>
                <a:gd name="T89" fmla="*/ 327 h 334"/>
                <a:gd name="T90" fmla="*/ 195 w 330"/>
                <a:gd name="T91" fmla="*/ 301 h 334"/>
                <a:gd name="T92" fmla="*/ 209 w 330"/>
                <a:gd name="T93" fmla="*/ 297 h 334"/>
                <a:gd name="T94" fmla="*/ 230 w 330"/>
                <a:gd name="T95" fmla="*/ 321 h 334"/>
                <a:gd name="T96" fmla="*/ 245 w 330"/>
                <a:gd name="T97" fmla="*/ 314 h 334"/>
                <a:gd name="T98" fmla="*/ 243 w 330"/>
                <a:gd name="T99" fmla="*/ 280 h 334"/>
                <a:gd name="T100" fmla="*/ 258 w 330"/>
                <a:gd name="T101" fmla="*/ 268 h 334"/>
                <a:gd name="T102" fmla="*/ 290 w 330"/>
                <a:gd name="T103" fmla="*/ 278 h 334"/>
                <a:gd name="T104" fmla="*/ 301 w 330"/>
                <a:gd name="T105" fmla="*/ 264 h 334"/>
                <a:gd name="T106" fmla="*/ 284 w 330"/>
                <a:gd name="T107" fmla="*/ 235 h 334"/>
                <a:gd name="T108" fmla="*/ 294 w 330"/>
                <a:gd name="T109" fmla="*/ 214 h 334"/>
                <a:gd name="T110" fmla="*/ 326 w 330"/>
                <a:gd name="T111" fmla="*/ 213 h 334"/>
                <a:gd name="T112" fmla="*/ 329 w 330"/>
                <a:gd name="T113" fmla="*/ 201 h 334"/>
                <a:gd name="T114" fmla="*/ 165 w 330"/>
                <a:gd name="T115" fmla="*/ 268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0" h="334">
                  <a:moveTo>
                    <a:pt x="308" y="184"/>
                  </a:moveTo>
                  <a:cubicBezTo>
                    <a:pt x="306" y="183"/>
                    <a:pt x="304" y="182"/>
                    <a:pt x="301" y="181"/>
                  </a:cubicBezTo>
                  <a:cubicBezTo>
                    <a:pt x="301" y="180"/>
                    <a:pt x="302" y="178"/>
                    <a:pt x="302" y="177"/>
                  </a:cubicBezTo>
                  <a:cubicBezTo>
                    <a:pt x="302" y="174"/>
                    <a:pt x="302" y="172"/>
                    <a:pt x="302" y="170"/>
                  </a:cubicBezTo>
                  <a:cubicBezTo>
                    <a:pt x="302" y="168"/>
                    <a:pt x="302" y="167"/>
                    <a:pt x="302" y="167"/>
                  </a:cubicBezTo>
                  <a:cubicBezTo>
                    <a:pt x="302" y="167"/>
                    <a:pt x="302" y="166"/>
                    <a:pt x="302" y="165"/>
                  </a:cubicBezTo>
                  <a:cubicBezTo>
                    <a:pt x="302" y="163"/>
                    <a:pt x="302" y="161"/>
                    <a:pt x="302" y="158"/>
                  </a:cubicBezTo>
                  <a:cubicBezTo>
                    <a:pt x="302" y="156"/>
                    <a:pt x="301" y="155"/>
                    <a:pt x="301" y="153"/>
                  </a:cubicBezTo>
                  <a:cubicBezTo>
                    <a:pt x="304" y="152"/>
                    <a:pt x="306" y="151"/>
                    <a:pt x="308" y="150"/>
                  </a:cubicBezTo>
                  <a:cubicBezTo>
                    <a:pt x="314" y="147"/>
                    <a:pt x="319" y="145"/>
                    <a:pt x="323" y="143"/>
                  </a:cubicBezTo>
                  <a:cubicBezTo>
                    <a:pt x="327" y="140"/>
                    <a:pt x="330" y="139"/>
                    <a:pt x="330" y="139"/>
                  </a:cubicBezTo>
                  <a:cubicBezTo>
                    <a:pt x="330" y="139"/>
                    <a:pt x="329" y="138"/>
                    <a:pt x="329" y="136"/>
                  </a:cubicBezTo>
                  <a:cubicBezTo>
                    <a:pt x="329" y="135"/>
                    <a:pt x="329" y="134"/>
                    <a:pt x="329" y="133"/>
                  </a:cubicBezTo>
                  <a:cubicBezTo>
                    <a:pt x="328" y="132"/>
                    <a:pt x="328" y="131"/>
                    <a:pt x="328" y="130"/>
                  </a:cubicBezTo>
                  <a:cubicBezTo>
                    <a:pt x="328" y="129"/>
                    <a:pt x="327" y="128"/>
                    <a:pt x="327" y="127"/>
                  </a:cubicBezTo>
                  <a:cubicBezTo>
                    <a:pt x="327" y="126"/>
                    <a:pt x="327" y="126"/>
                    <a:pt x="327" y="125"/>
                  </a:cubicBezTo>
                  <a:cubicBezTo>
                    <a:pt x="327" y="125"/>
                    <a:pt x="327" y="125"/>
                    <a:pt x="326" y="124"/>
                  </a:cubicBezTo>
                  <a:cubicBezTo>
                    <a:pt x="326" y="123"/>
                    <a:pt x="326" y="121"/>
                    <a:pt x="326" y="121"/>
                  </a:cubicBezTo>
                  <a:cubicBezTo>
                    <a:pt x="326" y="121"/>
                    <a:pt x="323" y="121"/>
                    <a:pt x="318" y="121"/>
                  </a:cubicBezTo>
                  <a:cubicBezTo>
                    <a:pt x="317" y="121"/>
                    <a:pt x="316" y="121"/>
                    <a:pt x="314" y="121"/>
                  </a:cubicBezTo>
                  <a:cubicBezTo>
                    <a:pt x="313" y="121"/>
                    <a:pt x="312" y="121"/>
                    <a:pt x="310" y="121"/>
                  </a:cubicBezTo>
                  <a:cubicBezTo>
                    <a:pt x="308" y="121"/>
                    <a:pt x="304" y="121"/>
                    <a:pt x="301" y="121"/>
                  </a:cubicBezTo>
                  <a:cubicBezTo>
                    <a:pt x="299" y="121"/>
                    <a:pt x="296" y="121"/>
                    <a:pt x="294" y="121"/>
                  </a:cubicBezTo>
                  <a:cubicBezTo>
                    <a:pt x="293" y="119"/>
                    <a:pt x="293" y="118"/>
                    <a:pt x="292" y="117"/>
                  </a:cubicBezTo>
                  <a:cubicBezTo>
                    <a:pt x="291" y="114"/>
                    <a:pt x="290" y="112"/>
                    <a:pt x="290" y="110"/>
                  </a:cubicBezTo>
                  <a:cubicBezTo>
                    <a:pt x="289" y="109"/>
                    <a:pt x="288" y="108"/>
                    <a:pt x="288" y="108"/>
                  </a:cubicBezTo>
                  <a:cubicBezTo>
                    <a:pt x="288" y="108"/>
                    <a:pt x="288" y="107"/>
                    <a:pt x="287" y="105"/>
                  </a:cubicBezTo>
                  <a:cubicBezTo>
                    <a:pt x="287" y="104"/>
                    <a:pt x="285" y="102"/>
                    <a:pt x="284" y="99"/>
                  </a:cubicBezTo>
                  <a:cubicBezTo>
                    <a:pt x="284" y="99"/>
                    <a:pt x="283" y="98"/>
                    <a:pt x="283" y="97"/>
                  </a:cubicBezTo>
                  <a:cubicBezTo>
                    <a:pt x="282" y="97"/>
                    <a:pt x="282" y="96"/>
                    <a:pt x="282" y="95"/>
                  </a:cubicBezTo>
                  <a:cubicBezTo>
                    <a:pt x="283" y="93"/>
                    <a:pt x="285" y="92"/>
                    <a:pt x="287" y="90"/>
                  </a:cubicBezTo>
                  <a:cubicBezTo>
                    <a:pt x="290" y="85"/>
                    <a:pt x="294" y="80"/>
                    <a:pt x="297" y="76"/>
                  </a:cubicBezTo>
                  <a:cubicBezTo>
                    <a:pt x="299" y="73"/>
                    <a:pt x="301" y="70"/>
                    <a:pt x="301" y="70"/>
                  </a:cubicBezTo>
                  <a:cubicBezTo>
                    <a:pt x="301" y="70"/>
                    <a:pt x="300" y="69"/>
                    <a:pt x="299" y="68"/>
                  </a:cubicBezTo>
                  <a:cubicBezTo>
                    <a:pt x="298" y="67"/>
                    <a:pt x="297" y="65"/>
                    <a:pt x="296" y="63"/>
                  </a:cubicBezTo>
                  <a:cubicBezTo>
                    <a:pt x="295" y="62"/>
                    <a:pt x="294" y="61"/>
                    <a:pt x="294" y="60"/>
                  </a:cubicBezTo>
                  <a:cubicBezTo>
                    <a:pt x="293" y="60"/>
                    <a:pt x="292" y="59"/>
                    <a:pt x="292" y="58"/>
                  </a:cubicBezTo>
                  <a:cubicBezTo>
                    <a:pt x="291" y="57"/>
                    <a:pt x="290" y="56"/>
                    <a:pt x="290" y="56"/>
                  </a:cubicBezTo>
                  <a:cubicBezTo>
                    <a:pt x="290" y="56"/>
                    <a:pt x="289" y="57"/>
                    <a:pt x="288" y="57"/>
                  </a:cubicBezTo>
                  <a:cubicBezTo>
                    <a:pt x="287" y="57"/>
                    <a:pt x="285" y="58"/>
                    <a:pt x="283" y="59"/>
                  </a:cubicBezTo>
                  <a:cubicBezTo>
                    <a:pt x="279" y="61"/>
                    <a:pt x="273" y="63"/>
                    <a:pt x="268" y="66"/>
                  </a:cubicBezTo>
                  <a:cubicBezTo>
                    <a:pt x="265" y="67"/>
                    <a:pt x="263" y="68"/>
                    <a:pt x="261" y="69"/>
                  </a:cubicBezTo>
                  <a:cubicBezTo>
                    <a:pt x="260" y="68"/>
                    <a:pt x="259" y="67"/>
                    <a:pt x="258" y="66"/>
                  </a:cubicBezTo>
                  <a:cubicBezTo>
                    <a:pt x="256" y="64"/>
                    <a:pt x="254" y="63"/>
                    <a:pt x="252" y="62"/>
                  </a:cubicBezTo>
                  <a:cubicBezTo>
                    <a:pt x="252" y="61"/>
                    <a:pt x="251" y="61"/>
                    <a:pt x="251" y="60"/>
                  </a:cubicBezTo>
                  <a:cubicBezTo>
                    <a:pt x="251" y="60"/>
                    <a:pt x="250" y="60"/>
                    <a:pt x="250" y="60"/>
                  </a:cubicBezTo>
                  <a:cubicBezTo>
                    <a:pt x="250" y="60"/>
                    <a:pt x="250" y="59"/>
                    <a:pt x="248" y="58"/>
                  </a:cubicBezTo>
                  <a:cubicBezTo>
                    <a:pt x="247" y="57"/>
                    <a:pt x="245" y="56"/>
                    <a:pt x="243" y="54"/>
                  </a:cubicBezTo>
                  <a:cubicBezTo>
                    <a:pt x="242" y="54"/>
                    <a:pt x="240" y="53"/>
                    <a:pt x="239" y="52"/>
                  </a:cubicBezTo>
                  <a:cubicBezTo>
                    <a:pt x="240" y="49"/>
                    <a:pt x="240" y="47"/>
                    <a:pt x="241" y="44"/>
                  </a:cubicBezTo>
                  <a:cubicBezTo>
                    <a:pt x="242" y="42"/>
                    <a:pt x="242" y="39"/>
                    <a:pt x="243" y="36"/>
                  </a:cubicBezTo>
                  <a:cubicBezTo>
                    <a:pt x="243" y="33"/>
                    <a:pt x="244" y="31"/>
                    <a:pt x="244" y="28"/>
                  </a:cubicBezTo>
                  <a:cubicBezTo>
                    <a:pt x="245" y="24"/>
                    <a:pt x="245" y="21"/>
                    <a:pt x="245" y="21"/>
                  </a:cubicBezTo>
                  <a:cubicBezTo>
                    <a:pt x="245" y="21"/>
                    <a:pt x="245" y="21"/>
                    <a:pt x="245" y="20"/>
                  </a:cubicBezTo>
                  <a:cubicBezTo>
                    <a:pt x="244" y="20"/>
                    <a:pt x="244" y="20"/>
                    <a:pt x="243" y="19"/>
                  </a:cubicBezTo>
                  <a:cubicBezTo>
                    <a:pt x="241" y="19"/>
                    <a:pt x="239" y="18"/>
                    <a:pt x="237" y="17"/>
                  </a:cubicBezTo>
                  <a:cubicBezTo>
                    <a:pt x="235" y="16"/>
                    <a:pt x="233" y="15"/>
                    <a:pt x="232" y="14"/>
                  </a:cubicBezTo>
                  <a:cubicBezTo>
                    <a:pt x="231" y="14"/>
                    <a:pt x="230" y="13"/>
                    <a:pt x="230" y="13"/>
                  </a:cubicBezTo>
                  <a:cubicBezTo>
                    <a:pt x="230" y="13"/>
                    <a:pt x="229" y="13"/>
                    <a:pt x="229" y="13"/>
                  </a:cubicBezTo>
                  <a:cubicBezTo>
                    <a:pt x="229" y="13"/>
                    <a:pt x="227" y="15"/>
                    <a:pt x="224" y="19"/>
                  </a:cubicBezTo>
                  <a:cubicBezTo>
                    <a:pt x="223" y="20"/>
                    <a:pt x="221" y="22"/>
                    <a:pt x="219" y="24"/>
                  </a:cubicBezTo>
                  <a:cubicBezTo>
                    <a:pt x="217" y="27"/>
                    <a:pt x="215" y="29"/>
                    <a:pt x="214" y="31"/>
                  </a:cubicBezTo>
                  <a:cubicBezTo>
                    <a:pt x="212" y="33"/>
                    <a:pt x="211" y="35"/>
                    <a:pt x="209" y="37"/>
                  </a:cubicBezTo>
                  <a:cubicBezTo>
                    <a:pt x="208" y="37"/>
                    <a:pt x="206" y="36"/>
                    <a:pt x="205" y="36"/>
                  </a:cubicBezTo>
                  <a:cubicBezTo>
                    <a:pt x="203" y="36"/>
                    <a:pt x="202" y="35"/>
                    <a:pt x="201" y="35"/>
                  </a:cubicBezTo>
                  <a:cubicBezTo>
                    <a:pt x="200" y="35"/>
                    <a:pt x="200" y="35"/>
                    <a:pt x="199" y="34"/>
                  </a:cubicBezTo>
                  <a:cubicBezTo>
                    <a:pt x="199" y="34"/>
                    <a:pt x="198" y="34"/>
                    <a:pt x="198" y="34"/>
                  </a:cubicBezTo>
                  <a:cubicBezTo>
                    <a:pt x="196" y="34"/>
                    <a:pt x="195" y="34"/>
                    <a:pt x="195" y="34"/>
                  </a:cubicBezTo>
                  <a:cubicBezTo>
                    <a:pt x="195" y="34"/>
                    <a:pt x="194" y="33"/>
                    <a:pt x="193" y="33"/>
                  </a:cubicBezTo>
                  <a:cubicBezTo>
                    <a:pt x="191" y="33"/>
                    <a:pt x="189" y="32"/>
                    <a:pt x="186" y="32"/>
                  </a:cubicBezTo>
                  <a:cubicBezTo>
                    <a:pt x="185" y="32"/>
                    <a:pt x="183" y="31"/>
                    <a:pt x="181" y="31"/>
                  </a:cubicBezTo>
                  <a:cubicBezTo>
                    <a:pt x="181" y="29"/>
                    <a:pt x="181" y="26"/>
                    <a:pt x="180" y="24"/>
                  </a:cubicBezTo>
                  <a:cubicBezTo>
                    <a:pt x="179" y="18"/>
                    <a:pt x="177" y="12"/>
                    <a:pt x="176" y="8"/>
                  </a:cubicBezTo>
                  <a:cubicBezTo>
                    <a:pt x="175" y="3"/>
                    <a:pt x="174" y="0"/>
                    <a:pt x="174" y="0"/>
                  </a:cubicBezTo>
                  <a:cubicBezTo>
                    <a:pt x="174" y="0"/>
                    <a:pt x="174" y="0"/>
                    <a:pt x="173" y="0"/>
                  </a:cubicBezTo>
                  <a:cubicBezTo>
                    <a:pt x="173" y="0"/>
                    <a:pt x="172" y="0"/>
                    <a:pt x="171" y="0"/>
                  </a:cubicBezTo>
                  <a:cubicBezTo>
                    <a:pt x="169" y="0"/>
                    <a:pt x="167" y="0"/>
                    <a:pt x="165" y="0"/>
                  </a:cubicBezTo>
                  <a:cubicBezTo>
                    <a:pt x="163" y="0"/>
                    <a:pt x="160" y="0"/>
                    <a:pt x="159" y="0"/>
                  </a:cubicBezTo>
                  <a:cubicBezTo>
                    <a:pt x="158" y="0"/>
                    <a:pt x="157" y="0"/>
                    <a:pt x="157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0"/>
                    <a:pt x="155" y="3"/>
                    <a:pt x="154" y="8"/>
                  </a:cubicBezTo>
                  <a:cubicBezTo>
                    <a:pt x="153" y="12"/>
                    <a:pt x="151" y="18"/>
                    <a:pt x="150" y="24"/>
                  </a:cubicBezTo>
                  <a:cubicBezTo>
                    <a:pt x="149" y="26"/>
                    <a:pt x="149" y="29"/>
                    <a:pt x="148" y="31"/>
                  </a:cubicBezTo>
                  <a:cubicBezTo>
                    <a:pt x="147" y="31"/>
                    <a:pt x="145" y="32"/>
                    <a:pt x="144" y="32"/>
                  </a:cubicBezTo>
                  <a:cubicBezTo>
                    <a:pt x="141" y="32"/>
                    <a:pt x="139" y="33"/>
                    <a:pt x="137" y="33"/>
                  </a:cubicBezTo>
                  <a:cubicBezTo>
                    <a:pt x="135" y="33"/>
                    <a:pt x="134" y="34"/>
                    <a:pt x="134" y="34"/>
                  </a:cubicBezTo>
                  <a:cubicBezTo>
                    <a:pt x="134" y="34"/>
                    <a:pt x="133" y="34"/>
                    <a:pt x="132" y="34"/>
                  </a:cubicBezTo>
                  <a:cubicBezTo>
                    <a:pt x="131" y="34"/>
                    <a:pt x="131" y="34"/>
                    <a:pt x="130" y="34"/>
                  </a:cubicBezTo>
                  <a:cubicBezTo>
                    <a:pt x="130" y="35"/>
                    <a:pt x="129" y="35"/>
                    <a:pt x="129" y="35"/>
                  </a:cubicBezTo>
                  <a:cubicBezTo>
                    <a:pt x="128" y="35"/>
                    <a:pt x="126" y="36"/>
                    <a:pt x="125" y="36"/>
                  </a:cubicBezTo>
                  <a:cubicBezTo>
                    <a:pt x="124" y="36"/>
                    <a:pt x="122" y="37"/>
                    <a:pt x="121" y="37"/>
                  </a:cubicBezTo>
                  <a:cubicBezTo>
                    <a:pt x="119" y="35"/>
                    <a:pt x="118" y="33"/>
                    <a:pt x="116" y="31"/>
                  </a:cubicBezTo>
                  <a:cubicBezTo>
                    <a:pt x="114" y="29"/>
                    <a:pt x="112" y="27"/>
                    <a:pt x="111" y="24"/>
                  </a:cubicBezTo>
                  <a:cubicBezTo>
                    <a:pt x="109" y="22"/>
                    <a:pt x="107" y="20"/>
                    <a:pt x="106" y="19"/>
                  </a:cubicBezTo>
                  <a:cubicBezTo>
                    <a:pt x="103" y="15"/>
                    <a:pt x="101" y="13"/>
                    <a:pt x="101" y="13"/>
                  </a:cubicBezTo>
                  <a:cubicBezTo>
                    <a:pt x="101" y="13"/>
                    <a:pt x="100" y="13"/>
                    <a:pt x="100" y="13"/>
                  </a:cubicBezTo>
                  <a:cubicBezTo>
                    <a:pt x="99" y="13"/>
                    <a:pt x="99" y="14"/>
                    <a:pt x="98" y="14"/>
                  </a:cubicBezTo>
                  <a:cubicBezTo>
                    <a:pt x="96" y="15"/>
                    <a:pt x="94" y="16"/>
                    <a:pt x="92" y="17"/>
                  </a:cubicBezTo>
                  <a:cubicBezTo>
                    <a:pt x="90" y="18"/>
                    <a:pt x="88" y="19"/>
                    <a:pt x="87" y="19"/>
                  </a:cubicBezTo>
                  <a:cubicBezTo>
                    <a:pt x="86" y="20"/>
                    <a:pt x="86" y="20"/>
                    <a:pt x="85" y="20"/>
                  </a:cubicBezTo>
                  <a:cubicBezTo>
                    <a:pt x="85" y="21"/>
                    <a:pt x="84" y="21"/>
                    <a:pt x="84" y="21"/>
                  </a:cubicBezTo>
                  <a:cubicBezTo>
                    <a:pt x="84" y="21"/>
                    <a:pt x="85" y="24"/>
                    <a:pt x="86" y="28"/>
                  </a:cubicBezTo>
                  <a:cubicBezTo>
                    <a:pt x="86" y="31"/>
                    <a:pt x="87" y="33"/>
                    <a:pt x="87" y="36"/>
                  </a:cubicBezTo>
                  <a:cubicBezTo>
                    <a:pt x="88" y="39"/>
                    <a:pt x="88" y="42"/>
                    <a:pt x="89" y="44"/>
                  </a:cubicBezTo>
                  <a:cubicBezTo>
                    <a:pt x="90" y="47"/>
                    <a:pt x="90" y="49"/>
                    <a:pt x="91" y="52"/>
                  </a:cubicBezTo>
                  <a:cubicBezTo>
                    <a:pt x="90" y="53"/>
                    <a:pt x="88" y="54"/>
                    <a:pt x="87" y="54"/>
                  </a:cubicBezTo>
                  <a:cubicBezTo>
                    <a:pt x="85" y="56"/>
                    <a:pt x="83" y="57"/>
                    <a:pt x="82" y="58"/>
                  </a:cubicBezTo>
                  <a:cubicBezTo>
                    <a:pt x="80" y="59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1"/>
                    <a:pt x="78" y="61"/>
                    <a:pt x="77" y="62"/>
                  </a:cubicBezTo>
                  <a:cubicBezTo>
                    <a:pt x="76" y="63"/>
                    <a:pt x="74" y="64"/>
                    <a:pt x="72" y="66"/>
                  </a:cubicBezTo>
                  <a:cubicBezTo>
                    <a:pt x="71" y="67"/>
                    <a:pt x="70" y="68"/>
                    <a:pt x="69" y="69"/>
                  </a:cubicBezTo>
                  <a:cubicBezTo>
                    <a:pt x="67" y="68"/>
                    <a:pt x="64" y="67"/>
                    <a:pt x="62" y="66"/>
                  </a:cubicBezTo>
                  <a:cubicBezTo>
                    <a:pt x="57" y="63"/>
                    <a:pt x="51" y="61"/>
                    <a:pt x="47" y="59"/>
                  </a:cubicBezTo>
                  <a:cubicBezTo>
                    <a:pt x="45" y="58"/>
                    <a:pt x="43" y="57"/>
                    <a:pt x="42" y="57"/>
                  </a:cubicBezTo>
                  <a:cubicBezTo>
                    <a:pt x="41" y="57"/>
                    <a:pt x="40" y="56"/>
                    <a:pt x="40" y="56"/>
                  </a:cubicBezTo>
                  <a:cubicBezTo>
                    <a:pt x="40" y="56"/>
                    <a:pt x="39" y="57"/>
                    <a:pt x="38" y="58"/>
                  </a:cubicBezTo>
                  <a:cubicBezTo>
                    <a:pt x="38" y="59"/>
                    <a:pt x="37" y="60"/>
                    <a:pt x="36" y="60"/>
                  </a:cubicBezTo>
                  <a:cubicBezTo>
                    <a:pt x="36" y="61"/>
                    <a:pt x="35" y="62"/>
                    <a:pt x="34" y="63"/>
                  </a:cubicBezTo>
                  <a:cubicBezTo>
                    <a:pt x="33" y="65"/>
                    <a:pt x="32" y="67"/>
                    <a:pt x="31" y="68"/>
                  </a:cubicBezTo>
                  <a:cubicBezTo>
                    <a:pt x="30" y="69"/>
                    <a:pt x="29" y="70"/>
                    <a:pt x="29" y="70"/>
                  </a:cubicBezTo>
                  <a:cubicBezTo>
                    <a:pt x="29" y="70"/>
                    <a:pt x="31" y="73"/>
                    <a:pt x="33" y="76"/>
                  </a:cubicBezTo>
                  <a:cubicBezTo>
                    <a:pt x="36" y="80"/>
                    <a:pt x="40" y="85"/>
                    <a:pt x="43" y="90"/>
                  </a:cubicBezTo>
                  <a:cubicBezTo>
                    <a:pt x="45" y="92"/>
                    <a:pt x="47" y="93"/>
                    <a:pt x="48" y="95"/>
                  </a:cubicBezTo>
                  <a:cubicBezTo>
                    <a:pt x="48" y="96"/>
                    <a:pt x="47" y="97"/>
                    <a:pt x="47" y="97"/>
                  </a:cubicBezTo>
                  <a:cubicBezTo>
                    <a:pt x="47" y="98"/>
                    <a:pt x="46" y="99"/>
                    <a:pt x="46" y="99"/>
                  </a:cubicBezTo>
                  <a:cubicBezTo>
                    <a:pt x="44" y="102"/>
                    <a:pt x="43" y="104"/>
                    <a:pt x="43" y="105"/>
                  </a:cubicBezTo>
                  <a:cubicBezTo>
                    <a:pt x="42" y="107"/>
                    <a:pt x="41" y="108"/>
                    <a:pt x="41" y="108"/>
                  </a:cubicBezTo>
                  <a:cubicBezTo>
                    <a:pt x="41" y="108"/>
                    <a:pt x="41" y="109"/>
                    <a:pt x="40" y="110"/>
                  </a:cubicBezTo>
                  <a:cubicBezTo>
                    <a:pt x="40" y="112"/>
                    <a:pt x="39" y="114"/>
                    <a:pt x="38" y="117"/>
                  </a:cubicBezTo>
                  <a:cubicBezTo>
                    <a:pt x="37" y="118"/>
                    <a:pt x="36" y="119"/>
                    <a:pt x="36" y="121"/>
                  </a:cubicBezTo>
                  <a:cubicBezTo>
                    <a:pt x="33" y="121"/>
                    <a:pt x="31" y="121"/>
                    <a:pt x="28" y="121"/>
                  </a:cubicBezTo>
                  <a:cubicBezTo>
                    <a:pt x="25" y="121"/>
                    <a:pt x="22" y="121"/>
                    <a:pt x="19" y="121"/>
                  </a:cubicBezTo>
                  <a:cubicBezTo>
                    <a:pt x="18" y="121"/>
                    <a:pt x="17" y="121"/>
                    <a:pt x="15" y="121"/>
                  </a:cubicBezTo>
                  <a:cubicBezTo>
                    <a:pt x="14" y="121"/>
                    <a:pt x="13" y="121"/>
                    <a:pt x="12" y="121"/>
                  </a:cubicBezTo>
                  <a:cubicBezTo>
                    <a:pt x="7" y="121"/>
                    <a:pt x="4" y="121"/>
                    <a:pt x="4" y="121"/>
                  </a:cubicBezTo>
                  <a:cubicBezTo>
                    <a:pt x="4" y="121"/>
                    <a:pt x="4" y="123"/>
                    <a:pt x="3" y="124"/>
                  </a:cubicBezTo>
                  <a:cubicBezTo>
                    <a:pt x="3" y="125"/>
                    <a:pt x="3" y="125"/>
                    <a:pt x="3" y="125"/>
                  </a:cubicBezTo>
                  <a:cubicBezTo>
                    <a:pt x="3" y="126"/>
                    <a:pt x="3" y="126"/>
                    <a:pt x="3" y="127"/>
                  </a:cubicBezTo>
                  <a:cubicBezTo>
                    <a:pt x="2" y="128"/>
                    <a:pt x="2" y="129"/>
                    <a:pt x="2" y="130"/>
                  </a:cubicBezTo>
                  <a:cubicBezTo>
                    <a:pt x="2" y="131"/>
                    <a:pt x="1" y="132"/>
                    <a:pt x="1" y="133"/>
                  </a:cubicBezTo>
                  <a:cubicBezTo>
                    <a:pt x="1" y="134"/>
                    <a:pt x="1" y="135"/>
                    <a:pt x="1" y="136"/>
                  </a:cubicBezTo>
                  <a:cubicBezTo>
                    <a:pt x="0" y="138"/>
                    <a:pt x="0" y="139"/>
                    <a:pt x="0" y="139"/>
                  </a:cubicBezTo>
                  <a:cubicBezTo>
                    <a:pt x="0" y="139"/>
                    <a:pt x="3" y="140"/>
                    <a:pt x="7" y="143"/>
                  </a:cubicBezTo>
                  <a:cubicBezTo>
                    <a:pt x="11" y="145"/>
                    <a:pt x="16" y="147"/>
                    <a:pt x="22" y="150"/>
                  </a:cubicBezTo>
                  <a:cubicBezTo>
                    <a:pt x="24" y="151"/>
                    <a:pt x="26" y="152"/>
                    <a:pt x="29" y="153"/>
                  </a:cubicBezTo>
                  <a:cubicBezTo>
                    <a:pt x="28" y="155"/>
                    <a:pt x="28" y="156"/>
                    <a:pt x="28" y="158"/>
                  </a:cubicBezTo>
                  <a:cubicBezTo>
                    <a:pt x="28" y="161"/>
                    <a:pt x="28" y="163"/>
                    <a:pt x="28" y="165"/>
                  </a:cubicBezTo>
                  <a:cubicBezTo>
                    <a:pt x="28" y="166"/>
                    <a:pt x="28" y="167"/>
                    <a:pt x="28" y="167"/>
                  </a:cubicBezTo>
                  <a:cubicBezTo>
                    <a:pt x="28" y="167"/>
                    <a:pt x="28" y="168"/>
                    <a:pt x="28" y="170"/>
                  </a:cubicBezTo>
                  <a:cubicBezTo>
                    <a:pt x="28" y="172"/>
                    <a:pt x="28" y="174"/>
                    <a:pt x="28" y="177"/>
                  </a:cubicBezTo>
                  <a:cubicBezTo>
                    <a:pt x="28" y="178"/>
                    <a:pt x="28" y="180"/>
                    <a:pt x="29" y="181"/>
                  </a:cubicBezTo>
                  <a:cubicBezTo>
                    <a:pt x="26" y="182"/>
                    <a:pt x="24" y="183"/>
                    <a:pt x="22" y="184"/>
                  </a:cubicBezTo>
                  <a:cubicBezTo>
                    <a:pt x="16" y="187"/>
                    <a:pt x="11" y="190"/>
                    <a:pt x="7" y="192"/>
                  </a:cubicBezTo>
                  <a:cubicBezTo>
                    <a:pt x="3" y="194"/>
                    <a:pt x="0" y="196"/>
                    <a:pt x="0" y="196"/>
                  </a:cubicBezTo>
                  <a:cubicBezTo>
                    <a:pt x="0" y="196"/>
                    <a:pt x="0" y="197"/>
                    <a:pt x="1" y="198"/>
                  </a:cubicBezTo>
                  <a:cubicBezTo>
                    <a:pt x="1" y="199"/>
                    <a:pt x="1" y="200"/>
                    <a:pt x="1" y="201"/>
                  </a:cubicBezTo>
                  <a:cubicBezTo>
                    <a:pt x="1" y="202"/>
                    <a:pt x="2" y="203"/>
                    <a:pt x="2" y="204"/>
                  </a:cubicBezTo>
                  <a:cubicBezTo>
                    <a:pt x="2" y="205"/>
                    <a:pt x="2" y="207"/>
                    <a:pt x="3" y="208"/>
                  </a:cubicBezTo>
                  <a:cubicBezTo>
                    <a:pt x="3" y="208"/>
                    <a:pt x="3" y="209"/>
                    <a:pt x="3" y="209"/>
                  </a:cubicBezTo>
                  <a:cubicBezTo>
                    <a:pt x="3" y="210"/>
                    <a:pt x="3" y="210"/>
                    <a:pt x="3" y="210"/>
                  </a:cubicBezTo>
                  <a:cubicBezTo>
                    <a:pt x="4" y="212"/>
                    <a:pt x="4" y="213"/>
                    <a:pt x="4" y="213"/>
                  </a:cubicBezTo>
                  <a:cubicBezTo>
                    <a:pt x="4" y="213"/>
                    <a:pt x="7" y="213"/>
                    <a:pt x="12" y="214"/>
                  </a:cubicBezTo>
                  <a:cubicBezTo>
                    <a:pt x="13" y="214"/>
                    <a:pt x="14" y="214"/>
                    <a:pt x="15" y="214"/>
                  </a:cubicBezTo>
                  <a:cubicBezTo>
                    <a:pt x="17" y="214"/>
                    <a:pt x="18" y="214"/>
                    <a:pt x="19" y="214"/>
                  </a:cubicBezTo>
                  <a:cubicBezTo>
                    <a:pt x="22" y="214"/>
                    <a:pt x="25" y="214"/>
                    <a:pt x="28" y="214"/>
                  </a:cubicBezTo>
                  <a:cubicBezTo>
                    <a:pt x="31" y="214"/>
                    <a:pt x="33" y="214"/>
                    <a:pt x="36" y="214"/>
                  </a:cubicBezTo>
                  <a:cubicBezTo>
                    <a:pt x="36" y="215"/>
                    <a:pt x="37" y="217"/>
                    <a:pt x="38" y="218"/>
                  </a:cubicBezTo>
                  <a:cubicBezTo>
                    <a:pt x="39" y="221"/>
                    <a:pt x="40" y="223"/>
                    <a:pt x="40" y="224"/>
                  </a:cubicBezTo>
                  <a:cubicBezTo>
                    <a:pt x="41" y="226"/>
                    <a:pt x="41" y="227"/>
                    <a:pt x="41" y="227"/>
                  </a:cubicBezTo>
                  <a:cubicBezTo>
                    <a:pt x="41" y="227"/>
                    <a:pt x="42" y="228"/>
                    <a:pt x="43" y="229"/>
                  </a:cubicBezTo>
                  <a:cubicBezTo>
                    <a:pt x="43" y="231"/>
                    <a:pt x="44" y="233"/>
                    <a:pt x="46" y="235"/>
                  </a:cubicBezTo>
                  <a:cubicBezTo>
                    <a:pt x="46" y="236"/>
                    <a:pt x="47" y="237"/>
                    <a:pt x="47" y="237"/>
                  </a:cubicBezTo>
                  <a:cubicBezTo>
                    <a:pt x="47" y="238"/>
                    <a:pt x="48" y="239"/>
                    <a:pt x="48" y="239"/>
                  </a:cubicBezTo>
                  <a:cubicBezTo>
                    <a:pt x="47" y="241"/>
                    <a:pt x="45" y="243"/>
                    <a:pt x="43" y="245"/>
                  </a:cubicBezTo>
                  <a:cubicBezTo>
                    <a:pt x="40" y="250"/>
                    <a:pt x="36" y="254"/>
                    <a:pt x="33" y="258"/>
                  </a:cubicBezTo>
                  <a:cubicBezTo>
                    <a:pt x="31" y="262"/>
                    <a:pt x="29" y="264"/>
                    <a:pt x="29" y="264"/>
                  </a:cubicBezTo>
                  <a:cubicBezTo>
                    <a:pt x="29" y="264"/>
                    <a:pt x="30" y="265"/>
                    <a:pt x="31" y="267"/>
                  </a:cubicBezTo>
                  <a:cubicBezTo>
                    <a:pt x="32" y="268"/>
                    <a:pt x="33" y="270"/>
                    <a:pt x="34" y="271"/>
                  </a:cubicBezTo>
                  <a:cubicBezTo>
                    <a:pt x="35" y="272"/>
                    <a:pt x="36" y="273"/>
                    <a:pt x="36" y="274"/>
                  </a:cubicBezTo>
                  <a:cubicBezTo>
                    <a:pt x="37" y="275"/>
                    <a:pt x="38" y="276"/>
                    <a:pt x="38" y="276"/>
                  </a:cubicBezTo>
                  <a:cubicBezTo>
                    <a:pt x="39" y="277"/>
                    <a:pt x="40" y="278"/>
                    <a:pt x="40" y="278"/>
                  </a:cubicBezTo>
                  <a:cubicBezTo>
                    <a:pt x="40" y="278"/>
                    <a:pt x="41" y="278"/>
                    <a:pt x="42" y="277"/>
                  </a:cubicBezTo>
                  <a:cubicBezTo>
                    <a:pt x="43" y="277"/>
                    <a:pt x="45" y="276"/>
                    <a:pt x="47" y="275"/>
                  </a:cubicBezTo>
                  <a:cubicBezTo>
                    <a:pt x="51" y="274"/>
                    <a:pt x="57" y="271"/>
                    <a:pt x="62" y="268"/>
                  </a:cubicBezTo>
                  <a:cubicBezTo>
                    <a:pt x="64" y="267"/>
                    <a:pt x="67" y="266"/>
                    <a:pt x="69" y="265"/>
                  </a:cubicBezTo>
                  <a:cubicBezTo>
                    <a:pt x="70" y="266"/>
                    <a:pt x="71" y="267"/>
                    <a:pt x="72" y="268"/>
                  </a:cubicBezTo>
                  <a:cubicBezTo>
                    <a:pt x="74" y="270"/>
                    <a:pt x="76" y="272"/>
                    <a:pt x="77" y="273"/>
                  </a:cubicBezTo>
                  <a:cubicBezTo>
                    <a:pt x="78" y="273"/>
                    <a:pt x="79" y="274"/>
                    <a:pt x="79" y="274"/>
                  </a:cubicBezTo>
                  <a:cubicBezTo>
                    <a:pt x="79" y="274"/>
                    <a:pt x="79" y="274"/>
                    <a:pt x="79" y="274"/>
                  </a:cubicBezTo>
                  <a:cubicBezTo>
                    <a:pt x="79" y="274"/>
                    <a:pt x="80" y="275"/>
                    <a:pt x="82" y="276"/>
                  </a:cubicBezTo>
                  <a:cubicBezTo>
                    <a:pt x="83" y="277"/>
                    <a:pt x="85" y="278"/>
                    <a:pt x="87" y="280"/>
                  </a:cubicBezTo>
                  <a:cubicBezTo>
                    <a:pt x="88" y="281"/>
                    <a:pt x="90" y="282"/>
                    <a:pt x="91" y="283"/>
                  </a:cubicBezTo>
                  <a:cubicBezTo>
                    <a:pt x="90" y="285"/>
                    <a:pt x="90" y="288"/>
                    <a:pt x="89" y="290"/>
                  </a:cubicBezTo>
                  <a:cubicBezTo>
                    <a:pt x="88" y="293"/>
                    <a:pt x="88" y="296"/>
                    <a:pt x="87" y="299"/>
                  </a:cubicBezTo>
                  <a:cubicBezTo>
                    <a:pt x="87" y="301"/>
                    <a:pt x="86" y="304"/>
                    <a:pt x="86" y="306"/>
                  </a:cubicBezTo>
                  <a:cubicBezTo>
                    <a:pt x="85" y="311"/>
                    <a:pt x="84" y="314"/>
                    <a:pt x="84" y="314"/>
                  </a:cubicBezTo>
                  <a:cubicBezTo>
                    <a:pt x="84" y="314"/>
                    <a:pt x="85" y="314"/>
                    <a:pt x="85" y="314"/>
                  </a:cubicBezTo>
                  <a:cubicBezTo>
                    <a:pt x="86" y="314"/>
                    <a:pt x="86" y="315"/>
                    <a:pt x="87" y="315"/>
                  </a:cubicBezTo>
                  <a:cubicBezTo>
                    <a:pt x="88" y="316"/>
                    <a:pt x="90" y="317"/>
                    <a:pt x="92" y="318"/>
                  </a:cubicBezTo>
                  <a:cubicBezTo>
                    <a:pt x="94" y="319"/>
                    <a:pt x="96" y="320"/>
                    <a:pt x="98" y="320"/>
                  </a:cubicBezTo>
                  <a:cubicBezTo>
                    <a:pt x="99" y="321"/>
                    <a:pt x="99" y="321"/>
                    <a:pt x="100" y="321"/>
                  </a:cubicBezTo>
                  <a:cubicBezTo>
                    <a:pt x="100" y="321"/>
                    <a:pt x="101" y="321"/>
                    <a:pt x="101" y="321"/>
                  </a:cubicBezTo>
                  <a:cubicBezTo>
                    <a:pt x="101" y="321"/>
                    <a:pt x="103" y="319"/>
                    <a:pt x="106" y="316"/>
                  </a:cubicBezTo>
                  <a:cubicBezTo>
                    <a:pt x="107" y="314"/>
                    <a:pt x="109" y="312"/>
                    <a:pt x="111" y="310"/>
                  </a:cubicBezTo>
                  <a:cubicBezTo>
                    <a:pt x="112" y="308"/>
                    <a:pt x="114" y="306"/>
                    <a:pt x="116" y="303"/>
                  </a:cubicBezTo>
                  <a:cubicBezTo>
                    <a:pt x="118" y="301"/>
                    <a:pt x="119" y="299"/>
                    <a:pt x="121" y="297"/>
                  </a:cubicBezTo>
                  <a:cubicBezTo>
                    <a:pt x="122" y="298"/>
                    <a:pt x="124" y="298"/>
                    <a:pt x="125" y="298"/>
                  </a:cubicBezTo>
                  <a:cubicBezTo>
                    <a:pt x="126" y="299"/>
                    <a:pt x="128" y="299"/>
                    <a:pt x="129" y="300"/>
                  </a:cubicBezTo>
                  <a:cubicBezTo>
                    <a:pt x="129" y="300"/>
                    <a:pt x="130" y="300"/>
                    <a:pt x="130" y="300"/>
                  </a:cubicBezTo>
                  <a:cubicBezTo>
                    <a:pt x="131" y="300"/>
                    <a:pt x="131" y="300"/>
                    <a:pt x="132" y="300"/>
                  </a:cubicBezTo>
                  <a:cubicBezTo>
                    <a:pt x="133" y="301"/>
                    <a:pt x="134" y="301"/>
                    <a:pt x="134" y="301"/>
                  </a:cubicBezTo>
                  <a:cubicBezTo>
                    <a:pt x="134" y="301"/>
                    <a:pt x="135" y="301"/>
                    <a:pt x="137" y="302"/>
                  </a:cubicBezTo>
                  <a:cubicBezTo>
                    <a:pt x="139" y="302"/>
                    <a:pt x="141" y="302"/>
                    <a:pt x="144" y="303"/>
                  </a:cubicBezTo>
                  <a:cubicBezTo>
                    <a:pt x="145" y="303"/>
                    <a:pt x="147" y="303"/>
                    <a:pt x="148" y="303"/>
                  </a:cubicBezTo>
                  <a:cubicBezTo>
                    <a:pt x="149" y="306"/>
                    <a:pt x="149" y="308"/>
                    <a:pt x="150" y="311"/>
                  </a:cubicBezTo>
                  <a:cubicBezTo>
                    <a:pt x="151" y="317"/>
                    <a:pt x="153" y="322"/>
                    <a:pt x="154" y="327"/>
                  </a:cubicBezTo>
                  <a:cubicBezTo>
                    <a:pt x="155" y="331"/>
                    <a:pt x="156" y="334"/>
                    <a:pt x="156" y="334"/>
                  </a:cubicBezTo>
                  <a:cubicBezTo>
                    <a:pt x="156" y="334"/>
                    <a:pt x="156" y="334"/>
                    <a:pt x="157" y="334"/>
                  </a:cubicBezTo>
                  <a:cubicBezTo>
                    <a:pt x="157" y="334"/>
                    <a:pt x="158" y="334"/>
                    <a:pt x="159" y="334"/>
                  </a:cubicBezTo>
                  <a:cubicBezTo>
                    <a:pt x="160" y="334"/>
                    <a:pt x="163" y="334"/>
                    <a:pt x="165" y="334"/>
                  </a:cubicBezTo>
                  <a:cubicBezTo>
                    <a:pt x="167" y="334"/>
                    <a:pt x="169" y="334"/>
                    <a:pt x="171" y="334"/>
                  </a:cubicBezTo>
                  <a:cubicBezTo>
                    <a:pt x="172" y="334"/>
                    <a:pt x="173" y="334"/>
                    <a:pt x="173" y="334"/>
                  </a:cubicBezTo>
                  <a:cubicBezTo>
                    <a:pt x="174" y="334"/>
                    <a:pt x="174" y="334"/>
                    <a:pt x="174" y="334"/>
                  </a:cubicBezTo>
                  <a:cubicBezTo>
                    <a:pt x="174" y="334"/>
                    <a:pt x="175" y="331"/>
                    <a:pt x="176" y="327"/>
                  </a:cubicBezTo>
                  <a:cubicBezTo>
                    <a:pt x="177" y="322"/>
                    <a:pt x="179" y="317"/>
                    <a:pt x="180" y="311"/>
                  </a:cubicBezTo>
                  <a:cubicBezTo>
                    <a:pt x="181" y="308"/>
                    <a:pt x="181" y="306"/>
                    <a:pt x="181" y="303"/>
                  </a:cubicBezTo>
                  <a:cubicBezTo>
                    <a:pt x="183" y="303"/>
                    <a:pt x="185" y="303"/>
                    <a:pt x="186" y="303"/>
                  </a:cubicBezTo>
                  <a:cubicBezTo>
                    <a:pt x="189" y="302"/>
                    <a:pt x="191" y="302"/>
                    <a:pt x="193" y="302"/>
                  </a:cubicBezTo>
                  <a:cubicBezTo>
                    <a:pt x="194" y="301"/>
                    <a:pt x="195" y="301"/>
                    <a:pt x="195" y="301"/>
                  </a:cubicBezTo>
                  <a:cubicBezTo>
                    <a:pt x="195" y="301"/>
                    <a:pt x="196" y="301"/>
                    <a:pt x="198" y="300"/>
                  </a:cubicBezTo>
                  <a:cubicBezTo>
                    <a:pt x="198" y="300"/>
                    <a:pt x="199" y="300"/>
                    <a:pt x="199" y="300"/>
                  </a:cubicBezTo>
                  <a:cubicBezTo>
                    <a:pt x="200" y="300"/>
                    <a:pt x="200" y="300"/>
                    <a:pt x="201" y="300"/>
                  </a:cubicBezTo>
                  <a:cubicBezTo>
                    <a:pt x="202" y="299"/>
                    <a:pt x="203" y="299"/>
                    <a:pt x="205" y="298"/>
                  </a:cubicBezTo>
                  <a:cubicBezTo>
                    <a:pt x="206" y="298"/>
                    <a:pt x="208" y="298"/>
                    <a:pt x="209" y="297"/>
                  </a:cubicBezTo>
                  <a:cubicBezTo>
                    <a:pt x="211" y="299"/>
                    <a:pt x="212" y="301"/>
                    <a:pt x="214" y="303"/>
                  </a:cubicBezTo>
                  <a:cubicBezTo>
                    <a:pt x="215" y="306"/>
                    <a:pt x="217" y="308"/>
                    <a:pt x="219" y="310"/>
                  </a:cubicBezTo>
                  <a:cubicBezTo>
                    <a:pt x="221" y="312"/>
                    <a:pt x="223" y="314"/>
                    <a:pt x="224" y="316"/>
                  </a:cubicBezTo>
                  <a:cubicBezTo>
                    <a:pt x="227" y="319"/>
                    <a:pt x="229" y="321"/>
                    <a:pt x="229" y="321"/>
                  </a:cubicBezTo>
                  <a:cubicBezTo>
                    <a:pt x="229" y="321"/>
                    <a:pt x="230" y="321"/>
                    <a:pt x="230" y="321"/>
                  </a:cubicBezTo>
                  <a:cubicBezTo>
                    <a:pt x="230" y="321"/>
                    <a:pt x="231" y="321"/>
                    <a:pt x="232" y="320"/>
                  </a:cubicBezTo>
                  <a:cubicBezTo>
                    <a:pt x="233" y="320"/>
                    <a:pt x="235" y="319"/>
                    <a:pt x="237" y="318"/>
                  </a:cubicBezTo>
                  <a:cubicBezTo>
                    <a:pt x="239" y="317"/>
                    <a:pt x="241" y="316"/>
                    <a:pt x="243" y="315"/>
                  </a:cubicBezTo>
                  <a:cubicBezTo>
                    <a:pt x="244" y="315"/>
                    <a:pt x="244" y="314"/>
                    <a:pt x="245" y="314"/>
                  </a:cubicBezTo>
                  <a:cubicBezTo>
                    <a:pt x="245" y="314"/>
                    <a:pt x="245" y="314"/>
                    <a:pt x="245" y="314"/>
                  </a:cubicBezTo>
                  <a:cubicBezTo>
                    <a:pt x="245" y="314"/>
                    <a:pt x="245" y="311"/>
                    <a:pt x="244" y="306"/>
                  </a:cubicBezTo>
                  <a:cubicBezTo>
                    <a:pt x="244" y="304"/>
                    <a:pt x="243" y="301"/>
                    <a:pt x="243" y="299"/>
                  </a:cubicBezTo>
                  <a:cubicBezTo>
                    <a:pt x="242" y="296"/>
                    <a:pt x="242" y="293"/>
                    <a:pt x="241" y="290"/>
                  </a:cubicBezTo>
                  <a:cubicBezTo>
                    <a:pt x="240" y="288"/>
                    <a:pt x="240" y="285"/>
                    <a:pt x="239" y="283"/>
                  </a:cubicBezTo>
                  <a:cubicBezTo>
                    <a:pt x="240" y="282"/>
                    <a:pt x="242" y="281"/>
                    <a:pt x="243" y="280"/>
                  </a:cubicBezTo>
                  <a:cubicBezTo>
                    <a:pt x="245" y="278"/>
                    <a:pt x="247" y="277"/>
                    <a:pt x="248" y="276"/>
                  </a:cubicBezTo>
                  <a:cubicBezTo>
                    <a:pt x="250" y="275"/>
                    <a:pt x="250" y="274"/>
                    <a:pt x="250" y="274"/>
                  </a:cubicBezTo>
                  <a:cubicBezTo>
                    <a:pt x="250" y="274"/>
                    <a:pt x="251" y="274"/>
                    <a:pt x="251" y="274"/>
                  </a:cubicBezTo>
                  <a:cubicBezTo>
                    <a:pt x="251" y="274"/>
                    <a:pt x="252" y="273"/>
                    <a:pt x="252" y="273"/>
                  </a:cubicBezTo>
                  <a:cubicBezTo>
                    <a:pt x="254" y="272"/>
                    <a:pt x="256" y="270"/>
                    <a:pt x="258" y="268"/>
                  </a:cubicBezTo>
                  <a:cubicBezTo>
                    <a:pt x="259" y="267"/>
                    <a:pt x="260" y="266"/>
                    <a:pt x="261" y="265"/>
                  </a:cubicBezTo>
                  <a:cubicBezTo>
                    <a:pt x="263" y="266"/>
                    <a:pt x="265" y="267"/>
                    <a:pt x="268" y="268"/>
                  </a:cubicBezTo>
                  <a:cubicBezTo>
                    <a:pt x="273" y="271"/>
                    <a:pt x="279" y="274"/>
                    <a:pt x="283" y="275"/>
                  </a:cubicBezTo>
                  <a:cubicBezTo>
                    <a:pt x="285" y="276"/>
                    <a:pt x="287" y="277"/>
                    <a:pt x="288" y="277"/>
                  </a:cubicBezTo>
                  <a:cubicBezTo>
                    <a:pt x="289" y="278"/>
                    <a:pt x="290" y="278"/>
                    <a:pt x="290" y="278"/>
                  </a:cubicBezTo>
                  <a:cubicBezTo>
                    <a:pt x="290" y="278"/>
                    <a:pt x="291" y="277"/>
                    <a:pt x="292" y="276"/>
                  </a:cubicBezTo>
                  <a:cubicBezTo>
                    <a:pt x="292" y="276"/>
                    <a:pt x="293" y="275"/>
                    <a:pt x="294" y="274"/>
                  </a:cubicBezTo>
                  <a:cubicBezTo>
                    <a:pt x="294" y="273"/>
                    <a:pt x="295" y="272"/>
                    <a:pt x="296" y="271"/>
                  </a:cubicBezTo>
                  <a:cubicBezTo>
                    <a:pt x="297" y="270"/>
                    <a:pt x="298" y="268"/>
                    <a:pt x="299" y="267"/>
                  </a:cubicBezTo>
                  <a:cubicBezTo>
                    <a:pt x="300" y="265"/>
                    <a:pt x="301" y="264"/>
                    <a:pt x="301" y="264"/>
                  </a:cubicBezTo>
                  <a:cubicBezTo>
                    <a:pt x="301" y="264"/>
                    <a:pt x="299" y="262"/>
                    <a:pt x="297" y="258"/>
                  </a:cubicBezTo>
                  <a:cubicBezTo>
                    <a:pt x="294" y="254"/>
                    <a:pt x="290" y="250"/>
                    <a:pt x="287" y="245"/>
                  </a:cubicBezTo>
                  <a:cubicBezTo>
                    <a:pt x="285" y="243"/>
                    <a:pt x="283" y="241"/>
                    <a:pt x="282" y="239"/>
                  </a:cubicBezTo>
                  <a:cubicBezTo>
                    <a:pt x="282" y="239"/>
                    <a:pt x="282" y="238"/>
                    <a:pt x="283" y="237"/>
                  </a:cubicBezTo>
                  <a:cubicBezTo>
                    <a:pt x="283" y="237"/>
                    <a:pt x="284" y="236"/>
                    <a:pt x="284" y="235"/>
                  </a:cubicBezTo>
                  <a:cubicBezTo>
                    <a:pt x="285" y="233"/>
                    <a:pt x="287" y="231"/>
                    <a:pt x="287" y="229"/>
                  </a:cubicBezTo>
                  <a:cubicBezTo>
                    <a:pt x="288" y="228"/>
                    <a:pt x="288" y="227"/>
                    <a:pt x="288" y="227"/>
                  </a:cubicBezTo>
                  <a:cubicBezTo>
                    <a:pt x="288" y="227"/>
                    <a:pt x="289" y="226"/>
                    <a:pt x="290" y="224"/>
                  </a:cubicBezTo>
                  <a:cubicBezTo>
                    <a:pt x="290" y="223"/>
                    <a:pt x="291" y="221"/>
                    <a:pt x="292" y="218"/>
                  </a:cubicBezTo>
                  <a:cubicBezTo>
                    <a:pt x="293" y="217"/>
                    <a:pt x="293" y="215"/>
                    <a:pt x="294" y="214"/>
                  </a:cubicBezTo>
                  <a:cubicBezTo>
                    <a:pt x="296" y="214"/>
                    <a:pt x="299" y="214"/>
                    <a:pt x="301" y="214"/>
                  </a:cubicBezTo>
                  <a:cubicBezTo>
                    <a:pt x="304" y="214"/>
                    <a:pt x="308" y="214"/>
                    <a:pt x="310" y="214"/>
                  </a:cubicBezTo>
                  <a:cubicBezTo>
                    <a:pt x="312" y="214"/>
                    <a:pt x="313" y="214"/>
                    <a:pt x="314" y="214"/>
                  </a:cubicBezTo>
                  <a:cubicBezTo>
                    <a:pt x="316" y="214"/>
                    <a:pt x="317" y="214"/>
                    <a:pt x="318" y="214"/>
                  </a:cubicBezTo>
                  <a:cubicBezTo>
                    <a:pt x="323" y="213"/>
                    <a:pt x="326" y="213"/>
                    <a:pt x="326" y="213"/>
                  </a:cubicBezTo>
                  <a:cubicBezTo>
                    <a:pt x="326" y="213"/>
                    <a:pt x="326" y="212"/>
                    <a:pt x="326" y="210"/>
                  </a:cubicBezTo>
                  <a:cubicBezTo>
                    <a:pt x="327" y="210"/>
                    <a:pt x="327" y="210"/>
                    <a:pt x="327" y="209"/>
                  </a:cubicBezTo>
                  <a:cubicBezTo>
                    <a:pt x="327" y="209"/>
                    <a:pt x="327" y="208"/>
                    <a:pt x="327" y="208"/>
                  </a:cubicBezTo>
                  <a:cubicBezTo>
                    <a:pt x="327" y="207"/>
                    <a:pt x="328" y="205"/>
                    <a:pt x="328" y="204"/>
                  </a:cubicBezTo>
                  <a:cubicBezTo>
                    <a:pt x="328" y="203"/>
                    <a:pt x="328" y="202"/>
                    <a:pt x="329" y="201"/>
                  </a:cubicBezTo>
                  <a:cubicBezTo>
                    <a:pt x="329" y="200"/>
                    <a:pt x="329" y="199"/>
                    <a:pt x="329" y="198"/>
                  </a:cubicBezTo>
                  <a:cubicBezTo>
                    <a:pt x="329" y="197"/>
                    <a:pt x="330" y="196"/>
                    <a:pt x="330" y="196"/>
                  </a:cubicBezTo>
                  <a:cubicBezTo>
                    <a:pt x="330" y="196"/>
                    <a:pt x="327" y="194"/>
                    <a:pt x="323" y="192"/>
                  </a:cubicBezTo>
                  <a:cubicBezTo>
                    <a:pt x="319" y="190"/>
                    <a:pt x="314" y="187"/>
                    <a:pt x="308" y="184"/>
                  </a:cubicBezTo>
                  <a:close/>
                  <a:moveTo>
                    <a:pt x="165" y="268"/>
                  </a:moveTo>
                  <a:cubicBezTo>
                    <a:pt x="109" y="268"/>
                    <a:pt x="64" y="223"/>
                    <a:pt x="64" y="167"/>
                  </a:cubicBezTo>
                  <a:cubicBezTo>
                    <a:pt x="64" y="112"/>
                    <a:pt x="109" y="66"/>
                    <a:pt x="165" y="66"/>
                  </a:cubicBezTo>
                  <a:cubicBezTo>
                    <a:pt x="221" y="66"/>
                    <a:pt x="266" y="112"/>
                    <a:pt x="266" y="167"/>
                  </a:cubicBezTo>
                  <a:cubicBezTo>
                    <a:pt x="266" y="223"/>
                    <a:pt x="221" y="268"/>
                    <a:pt x="165" y="26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8100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ctr" anchorCtr="0" compatLnSpc="1">
              <a:normAutofit/>
            </a:bodyPr>
            <a:lstStyle/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rPr>
                <a:t>01</a:t>
              </a: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9" name="islîďè"/>
            <p:cNvSpPr/>
            <p:nvPr/>
          </p:nvSpPr>
          <p:spPr bwMode="auto">
            <a:xfrm>
              <a:off x="6677819" y="1782762"/>
              <a:ext cx="1327151" cy="357188"/>
            </a:xfrm>
            <a:custGeom>
              <a:avLst/>
              <a:gdLst>
                <a:gd name="T0" fmla="*/ 0 w 836"/>
                <a:gd name="T1" fmla="*/ 225 h 225"/>
                <a:gd name="T2" fmla="*/ 228 w 836"/>
                <a:gd name="T3" fmla="*/ 0 h 225"/>
                <a:gd name="T4" fmla="*/ 836 w 836"/>
                <a:gd name="T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36" h="225">
                  <a:moveTo>
                    <a:pt x="0" y="225"/>
                  </a:moveTo>
                  <a:lnTo>
                    <a:pt x="228" y="0"/>
                  </a:lnTo>
                  <a:lnTo>
                    <a:pt x="836" y="0"/>
                  </a:ln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fontScale="92500" lnSpcReduction="10000"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10" name="işḻíḍê"/>
            <p:cNvSpPr/>
            <p:nvPr/>
          </p:nvSpPr>
          <p:spPr bwMode="auto">
            <a:xfrm>
              <a:off x="7293769" y="3398838"/>
              <a:ext cx="1173163" cy="420688"/>
            </a:xfrm>
            <a:custGeom>
              <a:avLst/>
              <a:gdLst>
                <a:gd name="T0" fmla="*/ 0 w 739"/>
                <a:gd name="T1" fmla="*/ 265 h 265"/>
                <a:gd name="T2" fmla="*/ 268 w 739"/>
                <a:gd name="T3" fmla="*/ 0 h 265"/>
                <a:gd name="T4" fmla="*/ 739 w 739"/>
                <a:gd name="T5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39" h="265">
                  <a:moveTo>
                    <a:pt x="0" y="265"/>
                  </a:moveTo>
                  <a:lnTo>
                    <a:pt x="268" y="0"/>
                  </a:lnTo>
                  <a:lnTo>
                    <a:pt x="739" y="0"/>
                  </a:ln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11" name="iṥ1îdé"/>
            <p:cNvSpPr/>
            <p:nvPr/>
          </p:nvSpPr>
          <p:spPr bwMode="auto">
            <a:xfrm>
              <a:off x="3725069" y="4665664"/>
              <a:ext cx="1281112" cy="384175"/>
            </a:xfrm>
            <a:custGeom>
              <a:avLst/>
              <a:gdLst>
                <a:gd name="T0" fmla="*/ 807 w 807"/>
                <a:gd name="T1" fmla="*/ 0 h 242"/>
                <a:gd name="T2" fmla="*/ 566 w 807"/>
                <a:gd name="T3" fmla="*/ 242 h 242"/>
                <a:gd name="T4" fmla="*/ 0 w 807"/>
                <a:gd name="T5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7" h="242">
                  <a:moveTo>
                    <a:pt x="807" y="0"/>
                  </a:moveTo>
                  <a:lnTo>
                    <a:pt x="566" y="242"/>
                  </a:lnTo>
                  <a:lnTo>
                    <a:pt x="0" y="242"/>
                  </a:lnTo>
                </a:path>
              </a:pathLst>
            </a:custGeom>
            <a:noFill/>
            <a:ln w="3175" cap="flat">
              <a:solidFill>
                <a:schemeClr val="bg1">
                  <a:lumMod val="75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normAutofit lnSpcReduction="10000"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grpSp>
          <p:nvGrpSpPr>
            <p:cNvPr id="12" name="îşlïďê"/>
            <p:cNvGrpSpPr/>
            <p:nvPr/>
          </p:nvGrpSpPr>
          <p:grpSpPr>
            <a:xfrm>
              <a:off x="8141495" y="1457326"/>
              <a:ext cx="650874" cy="650872"/>
              <a:chOff x="753007" y="2242886"/>
              <a:chExt cx="643355" cy="643355"/>
            </a:xfrm>
          </p:grpSpPr>
          <p:sp>
            <p:nvSpPr>
              <p:cNvPr id="27" name="íSlíḓê"/>
              <p:cNvSpPr/>
              <p:nvPr/>
            </p:nvSpPr>
            <p:spPr bwMode="auto">
              <a:xfrm>
                <a:off x="753007" y="2242886"/>
                <a:ext cx="643355" cy="643355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8" name="íṧ1ïḍe"/>
              <p:cNvSpPr/>
              <p:nvPr/>
            </p:nvSpPr>
            <p:spPr bwMode="auto">
              <a:xfrm>
                <a:off x="926604" y="2417033"/>
                <a:ext cx="296160" cy="295059"/>
              </a:xfrm>
              <a:custGeom>
                <a:avLst/>
                <a:gdLst>
                  <a:gd name="connsiteX0" fmla="*/ 0 w 607639"/>
                  <a:gd name="connsiteY0" fmla="*/ 547235 h 605381"/>
                  <a:gd name="connsiteX1" fmla="*/ 23853 w 607639"/>
                  <a:gd name="connsiteY1" fmla="*/ 547235 h 605381"/>
                  <a:gd name="connsiteX2" fmla="*/ 36136 w 607639"/>
                  <a:gd name="connsiteY2" fmla="*/ 547235 h 605381"/>
                  <a:gd name="connsiteX3" fmla="*/ 190916 w 607639"/>
                  <a:gd name="connsiteY3" fmla="*/ 547235 h 605381"/>
                  <a:gd name="connsiteX4" fmla="*/ 212990 w 607639"/>
                  <a:gd name="connsiteY4" fmla="*/ 547235 h 605381"/>
                  <a:gd name="connsiteX5" fmla="*/ 394560 w 607639"/>
                  <a:gd name="connsiteY5" fmla="*/ 547235 h 605381"/>
                  <a:gd name="connsiteX6" fmla="*/ 416634 w 607639"/>
                  <a:gd name="connsiteY6" fmla="*/ 547235 h 605381"/>
                  <a:gd name="connsiteX7" fmla="*/ 571503 w 607639"/>
                  <a:gd name="connsiteY7" fmla="*/ 547235 h 605381"/>
                  <a:gd name="connsiteX8" fmla="*/ 583786 w 607639"/>
                  <a:gd name="connsiteY8" fmla="*/ 547235 h 605381"/>
                  <a:gd name="connsiteX9" fmla="*/ 607639 w 607639"/>
                  <a:gd name="connsiteY9" fmla="*/ 547235 h 605381"/>
                  <a:gd name="connsiteX10" fmla="*/ 607639 w 607639"/>
                  <a:gd name="connsiteY10" fmla="*/ 605381 h 605381"/>
                  <a:gd name="connsiteX11" fmla="*/ 0 w 607639"/>
                  <a:gd name="connsiteY11" fmla="*/ 605381 h 605381"/>
                  <a:gd name="connsiteX12" fmla="*/ 321849 w 607639"/>
                  <a:gd name="connsiteY12" fmla="*/ 269278 h 605381"/>
                  <a:gd name="connsiteX13" fmla="*/ 394531 w 607639"/>
                  <a:gd name="connsiteY13" fmla="*/ 269278 h 605381"/>
                  <a:gd name="connsiteX14" fmla="*/ 394531 w 607639"/>
                  <a:gd name="connsiteY14" fmla="*/ 511247 h 605381"/>
                  <a:gd name="connsiteX15" fmla="*/ 358501 w 607639"/>
                  <a:gd name="connsiteY15" fmla="*/ 511247 h 605381"/>
                  <a:gd name="connsiteX16" fmla="*/ 321849 w 607639"/>
                  <a:gd name="connsiteY16" fmla="*/ 511247 h 605381"/>
                  <a:gd name="connsiteX17" fmla="*/ 212966 w 607639"/>
                  <a:gd name="connsiteY17" fmla="*/ 269278 h 605381"/>
                  <a:gd name="connsiteX18" fmla="*/ 285790 w 607639"/>
                  <a:gd name="connsiteY18" fmla="*/ 269278 h 605381"/>
                  <a:gd name="connsiteX19" fmla="*/ 285790 w 607639"/>
                  <a:gd name="connsiteY19" fmla="*/ 511247 h 605381"/>
                  <a:gd name="connsiteX20" fmla="*/ 249111 w 607639"/>
                  <a:gd name="connsiteY20" fmla="*/ 511247 h 605381"/>
                  <a:gd name="connsiteX21" fmla="*/ 212966 w 607639"/>
                  <a:gd name="connsiteY21" fmla="*/ 511247 h 605381"/>
                  <a:gd name="connsiteX22" fmla="*/ 446972 w 607639"/>
                  <a:gd name="connsiteY22" fmla="*/ 242181 h 605381"/>
                  <a:gd name="connsiteX23" fmla="*/ 553523 w 607639"/>
                  <a:gd name="connsiteY23" fmla="*/ 242181 h 605381"/>
                  <a:gd name="connsiteX24" fmla="*/ 553523 w 607639"/>
                  <a:gd name="connsiteY24" fmla="*/ 453133 h 605381"/>
                  <a:gd name="connsiteX25" fmla="*/ 583788 w 607639"/>
                  <a:gd name="connsiteY25" fmla="*/ 453133 h 605381"/>
                  <a:gd name="connsiteX26" fmla="*/ 583788 w 607639"/>
                  <a:gd name="connsiteY26" fmla="*/ 511247 h 605381"/>
                  <a:gd name="connsiteX27" fmla="*/ 547648 w 607639"/>
                  <a:gd name="connsiteY27" fmla="*/ 511247 h 605381"/>
                  <a:gd name="connsiteX28" fmla="*/ 452758 w 607639"/>
                  <a:gd name="connsiteY28" fmla="*/ 511247 h 605381"/>
                  <a:gd name="connsiteX29" fmla="*/ 416618 w 607639"/>
                  <a:gd name="connsiteY29" fmla="*/ 511247 h 605381"/>
                  <a:gd name="connsiteX30" fmla="*/ 416618 w 607639"/>
                  <a:gd name="connsiteY30" fmla="*/ 453133 h 605381"/>
                  <a:gd name="connsiteX31" fmla="*/ 446972 w 607639"/>
                  <a:gd name="connsiteY31" fmla="*/ 453133 h 605381"/>
                  <a:gd name="connsiteX32" fmla="*/ 54106 w 607639"/>
                  <a:gd name="connsiteY32" fmla="*/ 242181 h 605381"/>
                  <a:gd name="connsiteX33" fmla="*/ 160624 w 607639"/>
                  <a:gd name="connsiteY33" fmla="*/ 242181 h 605381"/>
                  <a:gd name="connsiteX34" fmla="*/ 160624 w 607639"/>
                  <a:gd name="connsiteY34" fmla="*/ 453133 h 605381"/>
                  <a:gd name="connsiteX35" fmla="*/ 190879 w 607639"/>
                  <a:gd name="connsiteY35" fmla="*/ 453133 h 605381"/>
                  <a:gd name="connsiteX36" fmla="*/ 190879 w 607639"/>
                  <a:gd name="connsiteY36" fmla="*/ 511247 h 605381"/>
                  <a:gd name="connsiteX37" fmla="*/ 154839 w 607639"/>
                  <a:gd name="connsiteY37" fmla="*/ 511247 h 605381"/>
                  <a:gd name="connsiteX38" fmla="*/ 59891 w 607639"/>
                  <a:gd name="connsiteY38" fmla="*/ 511247 h 605381"/>
                  <a:gd name="connsiteX39" fmla="*/ 23851 w 607639"/>
                  <a:gd name="connsiteY39" fmla="*/ 511247 h 605381"/>
                  <a:gd name="connsiteX40" fmla="*/ 23851 w 607639"/>
                  <a:gd name="connsiteY40" fmla="*/ 453133 h 605381"/>
                  <a:gd name="connsiteX41" fmla="*/ 54106 w 607639"/>
                  <a:gd name="connsiteY41" fmla="*/ 453133 h 605381"/>
                  <a:gd name="connsiteX42" fmla="*/ 303820 w 607639"/>
                  <a:gd name="connsiteY42" fmla="*/ 98933 h 605381"/>
                  <a:gd name="connsiteX43" fmla="*/ 323120 w 607639"/>
                  <a:gd name="connsiteY43" fmla="*/ 118162 h 605381"/>
                  <a:gd name="connsiteX44" fmla="*/ 303820 w 607639"/>
                  <a:gd name="connsiteY44" fmla="*/ 137391 h 605381"/>
                  <a:gd name="connsiteX45" fmla="*/ 284520 w 607639"/>
                  <a:gd name="connsiteY45" fmla="*/ 118162 h 605381"/>
                  <a:gd name="connsiteX46" fmla="*/ 303820 w 607639"/>
                  <a:gd name="connsiteY46" fmla="*/ 98933 h 605381"/>
                  <a:gd name="connsiteX47" fmla="*/ 303749 w 607639"/>
                  <a:gd name="connsiteY47" fmla="*/ 62835 h 605381"/>
                  <a:gd name="connsiteX48" fmla="*/ 248388 w 607639"/>
                  <a:gd name="connsiteY48" fmla="*/ 118116 h 605381"/>
                  <a:gd name="connsiteX49" fmla="*/ 303749 w 607639"/>
                  <a:gd name="connsiteY49" fmla="*/ 173397 h 605381"/>
                  <a:gd name="connsiteX50" fmla="*/ 359111 w 607639"/>
                  <a:gd name="connsiteY50" fmla="*/ 118116 h 605381"/>
                  <a:gd name="connsiteX51" fmla="*/ 303749 w 607639"/>
                  <a:gd name="connsiteY51" fmla="*/ 62835 h 605381"/>
                  <a:gd name="connsiteX52" fmla="*/ 303749 w 607639"/>
                  <a:gd name="connsiteY52" fmla="*/ 0 h 605381"/>
                  <a:gd name="connsiteX53" fmla="*/ 586964 w 607639"/>
                  <a:gd name="connsiteY53" fmla="*/ 141490 h 605381"/>
                  <a:gd name="connsiteX54" fmla="*/ 586964 w 607639"/>
                  <a:gd name="connsiteY54" fmla="*/ 206192 h 605381"/>
                  <a:gd name="connsiteX55" fmla="*/ 20535 w 607639"/>
                  <a:gd name="connsiteY55" fmla="*/ 206192 h 605381"/>
                  <a:gd name="connsiteX56" fmla="*/ 20535 w 607639"/>
                  <a:gd name="connsiteY56" fmla="*/ 141490 h 60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7639" h="605381">
                    <a:moveTo>
                      <a:pt x="0" y="547235"/>
                    </a:moveTo>
                    <a:lnTo>
                      <a:pt x="23853" y="547235"/>
                    </a:lnTo>
                    <a:lnTo>
                      <a:pt x="36136" y="547235"/>
                    </a:lnTo>
                    <a:lnTo>
                      <a:pt x="190916" y="547235"/>
                    </a:lnTo>
                    <a:lnTo>
                      <a:pt x="212990" y="547235"/>
                    </a:lnTo>
                    <a:lnTo>
                      <a:pt x="394560" y="547235"/>
                    </a:lnTo>
                    <a:lnTo>
                      <a:pt x="416634" y="547235"/>
                    </a:lnTo>
                    <a:lnTo>
                      <a:pt x="571503" y="547235"/>
                    </a:lnTo>
                    <a:lnTo>
                      <a:pt x="583786" y="547235"/>
                    </a:lnTo>
                    <a:lnTo>
                      <a:pt x="607639" y="547235"/>
                    </a:lnTo>
                    <a:lnTo>
                      <a:pt x="607639" y="605381"/>
                    </a:lnTo>
                    <a:lnTo>
                      <a:pt x="0" y="605381"/>
                    </a:lnTo>
                    <a:close/>
                    <a:moveTo>
                      <a:pt x="321849" y="269278"/>
                    </a:moveTo>
                    <a:lnTo>
                      <a:pt x="394531" y="269278"/>
                    </a:lnTo>
                    <a:lnTo>
                      <a:pt x="394531" y="511247"/>
                    </a:lnTo>
                    <a:lnTo>
                      <a:pt x="358501" y="511247"/>
                    </a:lnTo>
                    <a:lnTo>
                      <a:pt x="321849" y="511247"/>
                    </a:lnTo>
                    <a:close/>
                    <a:moveTo>
                      <a:pt x="212966" y="269278"/>
                    </a:moveTo>
                    <a:lnTo>
                      <a:pt x="285790" y="269278"/>
                    </a:lnTo>
                    <a:lnTo>
                      <a:pt x="285790" y="511247"/>
                    </a:lnTo>
                    <a:lnTo>
                      <a:pt x="249111" y="511247"/>
                    </a:lnTo>
                    <a:lnTo>
                      <a:pt x="212966" y="511247"/>
                    </a:lnTo>
                    <a:close/>
                    <a:moveTo>
                      <a:pt x="446972" y="242181"/>
                    </a:moveTo>
                    <a:lnTo>
                      <a:pt x="553523" y="242181"/>
                    </a:lnTo>
                    <a:lnTo>
                      <a:pt x="553523" y="453133"/>
                    </a:lnTo>
                    <a:lnTo>
                      <a:pt x="583788" y="453133"/>
                    </a:lnTo>
                    <a:lnTo>
                      <a:pt x="583788" y="511247"/>
                    </a:lnTo>
                    <a:lnTo>
                      <a:pt x="547648" y="511247"/>
                    </a:lnTo>
                    <a:lnTo>
                      <a:pt x="452758" y="511247"/>
                    </a:lnTo>
                    <a:lnTo>
                      <a:pt x="416618" y="511247"/>
                    </a:lnTo>
                    <a:lnTo>
                      <a:pt x="416618" y="453133"/>
                    </a:lnTo>
                    <a:lnTo>
                      <a:pt x="446972" y="453133"/>
                    </a:lnTo>
                    <a:close/>
                    <a:moveTo>
                      <a:pt x="54106" y="242181"/>
                    </a:moveTo>
                    <a:lnTo>
                      <a:pt x="160624" y="242181"/>
                    </a:lnTo>
                    <a:lnTo>
                      <a:pt x="160624" y="453133"/>
                    </a:lnTo>
                    <a:lnTo>
                      <a:pt x="190879" y="453133"/>
                    </a:lnTo>
                    <a:lnTo>
                      <a:pt x="190879" y="511247"/>
                    </a:lnTo>
                    <a:lnTo>
                      <a:pt x="154839" y="511247"/>
                    </a:lnTo>
                    <a:lnTo>
                      <a:pt x="59891" y="511247"/>
                    </a:lnTo>
                    <a:lnTo>
                      <a:pt x="23851" y="511247"/>
                    </a:lnTo>
                    <a:lnTo>
                      <a:pt x="23851" y="453133"/>
                    </a:lnTo>
                    <a:lnTo>
                      <a:pt x="54106" y="453133"/>
                    </a:lnTo>
                    <a:close/>
                    <a:moveTo>
                      <a:pt x="303820" y="98933"/>
                    </a:moveTo>
                    <a:cubicBezTo>
                      <a:pt x="314479" y="98933"/>
                      <a:pt x="323120" y="107542"/>
                      <a:pt x="323120" y="118162"/>
                    </a:cubicBezTo>
                    <a:cubicBezTo>
                      <a:pt x="323120" y="128782"/>
                      <a:pt x="314479" y="137391"/>
                      <a:pt x="303820" y="137391"/>
                    </a:cubicBezTo>
                    <a:cubicBezTo>
                      <a:pt x="293161" y="137391"/>
                      <a:pt x="284520" y="128782"/>
                      <a:pt x="284520" y="118162"/>
                    </a:cubicBezTo>
                    <a:cubicBezTo>
                      <a:pt x="284520" y="107542"/>
                      <a:pt x="293161" y="98933"/>
                      <a:pt x="303820" y="98933"/>
                    </a:cubicBezTo>
                    <a:close/>
                    <a:moveTo>
                      <a:pt x="303749" y="62835"/>
                    </a:moveTo>
                    <a:cubicBezTo>
                      <a:pt x="273221" y="62835"/>
                      <a:pt x="248388" y="87631"/>
                      <a:pt x="248388" y="118116"/>
                    </a:cubicBezTo>
                    <a:cubicBezTo>
                      <a:pt x="248388" y="148600"/>
                      <a:pt x="273221" y="173397"/>
                      <a:pt x="303749" y="173397"/>
                    </a:cubicBezTo>
                    <a:cubicBezTo>
                      <a:pt x="334278" y="173397"/>
                      <a:pt x="359111" y="148600"/>
                      <a:pt x="359111" y="118116"/>
                    </a:cubicBezTo>
                    <a:cubicBezTo>
                      <a:pt x="359111" y="87631"/>
                      <a:pt x="334278" y="62835"/>
                      <a:pt x="303749" y="62835"/>
                    </a:cubicBezTo>
                    <a:close/>
                    <a:moveTo>
                      <a:pt x="303749" y="0"/>
                    </a:moveTo>
                    <a:lnTo>
                      <a:pt x="586964" y="141490"/>
                    </a:lnTo>
                    <a:lnTo>
                      <a:pt x="586964" y="206192"/>
                    </a:lnTo>
                    <a:lnTo>
                      <a:pt x="20535" y="206192"/>
                    </a:lnTo>
                    <a:lnTo>
                      <a:pt x="20535" y="141490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3" name="i$liḍé"/>
            <p:cNvGrpSpPr/>
            <p:nvPr/>
          </p:nvGrpSpPr>
          <p:grpSpPr>
            <a:xfrm>
              <a:off x="3074195" y="4730754"/>
              <a:ext cx="650874" cy="650872"/>
              <a:chOff x="753007" y="2242886"/>
              <a:chExt cx="643355" cy="643355"/>
            </a:xfrm>
          </p:grpSpPr>
          <p:sp>
            <p:nvSpPr>
              <p:cNvPr id="25" name="îs1íḑê"/>
              <p:cNvSpPr/>
              <p:nvPr/>
            </p:nvSpPr>
            <p:spPr bwMode="auto">
              <a:xfrm>
                <a:off x="753007" y="2242886"/>
                <a:ext cx="643355" cy="643355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3175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6" name="îṥļïḋe"/>
              <p:cNvSpPr/>
              <p:nvPr/>
            </p:nvSpPr>
            <p:spPr bwMode="auto">
              <a:xfrm>
                <a:off x="926604" y="2417033"/>
                <a:ext cx="296160" cy="295059"/>
              </a:xfrm>
              <a:custGeom>
                <a:avLst/>
                <a:gdLst>
                  <a:gd name="connsiteX0" fmla="*/ 0 w 607639"/>
                  <a:gd name="connsiteY0" fmla="*/ 547235 h 605381"/>
                  <a:gd name="connsiteX1" fmla="*/ 23853 w 607639"/>
                  <a:gd name="connsiteY1" fmla="*/ 547235 h 605381"/>
                  <a:gd name="connsiteX2" fmla="*/ 36136 w 607639"/>
                  <a:gd name="connsiteY2" fmla="*/ 547235 h 605381"/>
                  <a:gd name="connsiteX3" fmla="*/ 190916 w 607639"/>
                  <a:gd name="connsiteY3" fmla="*/ 547235 h 605381"/>
                  <a:gd name="connsiteX4" fmla="*/ 212990 w 607639"/>
                  <a:gd name="connsiteY4" fmla="*/ 547235 h 605381"/>
                  <a:gd name="connsiteX5" fmla="*/ 394560 w 607639"/>
                  <a:gd name="connsiteY5" fmla="*/ 547235 h 605381"/>
                  <a:gd name="connsiteX6" fmla="*/ 416634 w 607639"/>
                  <a:gd name="connsiteY6" fmla="*/ 547235 h 605381"/>
                  <a:gd name="connsiteX7" fmla="*/ 571503 w 607639"/>
                  <a:gd name="connsiteY7" fmla="*/ 547235 h 605381"/>
                  <a:gd name="connsiteX8" fmla="*/ 583786 w 607639"/>
                  <a:gd name="connsiteY8" fmla="*/ 547235 h 605381"/>
                  <a:gd name="connsiteX9" fmla="*/ 607639 w 607639"/>
                  <a:gd name="connsiteY9" fmla="*/ 547235 h 605381"/>
                  <a:gd name="connsiteX10" fmla="*/ 607639 w 607639"/>
                  <a:gd name="connsiteY10" fmla="*/ 605381 h 605381"/>
                  <a:gd name="connsiteX11" fmla="*/ 0 w 607639"/>
                  <a:gd name="connsiteY11" fmla="*/ 605381 h 605381"/>
                  <a:gd name="connsiteX12" fmla="*/ 321849 w 607639"/>
                  <a:gd name="connsiteY12" fmla="*/ 269278 h 605381"/>
                  <a:gd name="connsiteX13" fmla="*/ 394531 w 607639"/>
                  <a:gd name="connsiteY13" fmla="*/ 269278 h 605381"/>
                  <a:gd name="connsiteX14" fmla="*/ 394531 w 607639"/>
                  <a:gd name="connsiteY14" fmla="*/ 511247 h 605381"/>
                  <a:gd name="connsiteX15" fmla="*/ 358501 w 607639"/>
                  <a:gd name="connsiteY15" fmla="*/ 511247 h 605381"/>
                  <a:gd name="connsiteX16" fmla="*/ 321849 w 607639"/>
                  <a:gd name="connsiteY16" fmla="*/ 511247 h 605381"/>
                  <a:gd name="connsiteX17" fmla="*/ 212966 w 607639"/>
                  <a:gd name="connsiteY17" fmla="*/ 269278 h 605381"/>
                  <a:gd name="connsiteX18" fmla="*/ 285790 w 607639"/>
                  <a:gd name="connsiteY18" fmla="*/ 269278 h 605381"/>
                  <a:gd name="connsiteX19" fmla="*/ 285790 w 607639"/>
                  <a:gd name="connsiteY19" fmla="*/ 511247 h 605381"/>
                  <a:gd name="connsiteX20" fmla="*/ 249111 w 607639"/>
                  <a:gd name="connsiteY20" fmla="*/ 511247 h 605381"/>
                  <a:gd name="connsiteX21" fmla="*/ 212966 w 607639"/>
                  <a:gd name="connsiteY21" fmla="*/ 511247 h 605381"/>
                  <a:gd name="connsiteX22" fmla="*/ 446972 w 607639"/>
                  <a:gd name="connsiteY22" fmla="*/ 242181 h 605381"/>
                  <a:gd name="connsiteX23" fmla="*/ 553523 w 607639"/>
                  <a:gd name="connsiteY23" fmla="*/ 242181 h 605381"/>
                  <a:gd name="connsiteX24" fmla="*/ 553523 w 607639"/>
                  <a:gd name="connsiteY24" fmla="*/ 453133 h 605381"/>
                  <a:gd name="connsiteX25" fmla="*/ 583788 w 607639"/>
                  <a:gd name="connsiteY25" fmla="*/ 453133 h 605381"/>
                  <a:gd name="connsiteX26" fmla="*/ 583788 w 607639"/>
                  <a:gd name="connsiteY26" fmla="*/ 511247 h 605381"/>
                  <a:gd name="connsiteX27" fmla="*/ 547648 w 607639"/>
                  <a:gd name="connsiteY27" fmla="*/ 511247 h 605381"/>
                  <a:gd name="connsiteX28" fmla="*/ 452758 w 607639"/>
                  <a:gd name="connsiteY28" fmla="*/ 511247 h 605381"/>
                  <a:gd name="connsiteX29" fmla="*/ 416618 w 607639"/>
                  <a:gd name="connsiteY29" fmla="*/ 511247 h 605381"/>
                  <a:gd name="connsiteX30" fmla="*/ 416618 w 607639"/>
                  <a:gd name="connsiteY30" fmla="*/ 453133 h 605381"/>
                  <a:gd name="connsiteX31" fmla="*/ 446972 w 607639"/>
                  <a:gd name="connsiteY31" fmla="*/ 453133 h 605381"/>
                  <a:gd name="connsiteX32" fmla="*/ 54106 w 607639"/>
                  <a:gd name="connsiteY32" fmla="*/ 242181 h 605381"/>
                  <a:gd name="connsiteX33" fmla="*/ 160624 w 607639"/>
                  <a:gd name="connsiteY33" fmla="*/ 242181 h 605381"/>
                  <a:gd name="connsiteX34" fmla="*/ 160624 w 607639"/>
                  <a:gd name="connsiteY34" fmla="*/ 453133 h 605381"/>
                  <a:gd name="connsiteX35" fmla="*/ 190879 w 607639"/>
                  <a:gd name="connsiteY35" fmla="*/ 453133 h 605381"/>
                  <a:gd name="connsiteX36" fmla="*/ 190879 w 607639"/>
                  <a:gd name="connsiteY36" fmla="*/ 511247 h 605381"/>
                  <a:gd name="connsiteX37" fmla="*/ 154839 w 607639"/>
                  <a:gd name="connsiteY37" fmla="*/ 511247 h 605381"/>
                  <a:gd name="connsiteX38" fmla="*/ 59891 w 607639"/>
                  <a:gd name="connsiteY38" fmla="*/ 511247 h 605381"/>
                  <a:gd name="connsiteX39" fmla="*/ 23851 w 607639"/>
                  <a:gd name="connsiteY39" fmla="*/ 511247 h 605381"/>
                  <a:gd name="connsiteX40" fmla="*/ 23851 w 607639"/>
                  <a:gd name="connsiteY40" fmla="*/ 453133 h 605381"/>
                  <a:gd name="connsiteX41" fmla="*/ 54106 w 607639"/>
                  <a:gd name="connsiteY41" fmla="*/ 453133 h 605381"/>
                  <a:gd name="connsiteX42" fmla="*/ 303820 w 607639"/>
                  <a:gd name="connsiteY42" fmla="*/ 98933 h 605381"/>
                  <a:gd name="connsiteX43" fmla="*/ 323120 w 607639"/>
                  <a:gd name="connsiteY43" fmla="*/ 118162 h 605381"/>
                  <a:gd name="connsiteX44" fmla="*/ 303820 w 607639"/>
                  <a:gd name="connsiteY44" fmla="*/ 137391 h 605381"/>
                  <a:gd name="connsiteX45" fmla="*/ 284520 w 607639"/>
                  <a:gd name="connsiteY45" fmla="*/ 118162 h 605381"/>
                  <a:gd name="connsiteX46" fmla="*/ 303820 w 607639"/>
                  <a:gd name="connsiteY46" fmla="*/ 98933 h 605381"/>
                  <a:gd name="connsiteX47" fmla="*/ 303749 w 607639"/>
                  <a:gd name="connsiteY47" fmla="*/ 62835 h 605381"/>
                  <a:gd name="connsiteX48" fmla="*/ 248388 w 607639"/>
                  <a:gd name="connsiteY48" fmla="*/ 118116 h 605381"/>
                  <a:gd name="connsiteX49" fmla="*/ 303749 w 607639"/>
                  <a:gd name="connsiteY49" fmla="*/ 173397 h 605381"/>
                  <a:gd name="connsiteX50" fmla="*/ 359111 w 607639"/>
                  <a:gd name="connsiteY50" fmla="*/ 118116 h 605381"/>
                  <a:gd name="connsiteX51" fmla="*/ 303749 w 607639"/>
                  <a:gd name="connsiteY51" fmla="*/ 62835 h 605381"/>
                  <a:gd name="connsiteX52" fmla="*/ 303749 w 607639"/>
                  <a:gd name="connsiteY52" fmla="*/ 0 h 605381"/>
                  <a:gd name="connsiteX53" fmla="*/ 586964 w 607639"/>
                  <a:gd name="connsiteY53" fmla="*/ 141490 h 605381"/>
                  <a:gd name="connsiteX54" fmla="*/ 586964 w 607639"/>
                  <a:gd name="connsiteY54" fmla="*/ 206192 h 605381"/>
                  <a:gd name="connsiteX55" fmla="*/ 20535 w 607639"/>
                  <a:gd name="connsiteY55" fmla="*/ 206192 h 605381"/>
                  <a:gd name="connsiteX56" fmla="*/ 20535 w 607639"/>
                  <a:gd name="connsiteY56" fmla="*/ 141490 h 60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7639" h="605381">
                    <a:moveTo>
                      <a:pt x="0" y="547235"/>
                    </a:moveTo>
                    <a:lnTo>
                      <a:pt x="23853" y="547235"/>
                    </a:lnTo>
                    <a:lnTo>
                      <a:pt x="36136" y="547235"/>
                    </a:lnTo>
                    <a:lnTo>
                      <a:pt x="190916" y="547235"/>
                    </a:lnTo>
                    <a:lnTo>
                      <a:pt x="212990" y="547235"/>
                    </a:lnTo>
                    <a:lnTo>
                      <a:pt x="394560" y="547235"/>
                    </a:lnTo>
                    <a:lnTo>
                      <a:pt x="416634" y="547235"/>
                    </a:lnTo>
                    <a:lnTo>
                      <a:pt x="571503" y="547235"/>
                    </a:lnTo>
                    <a:lnTo>
                      <a:pt x="583786" y="547235"/>
                    </a:lnTo>
                    <a:lnTo>
                      <a:pt x="607639" y="547235"/>
                    </a:lnTo>
                    <a:lnTo>
                      <a:pt x="607639" y="605381"/>
                    </a:lnTo>
                    <a:lnTo>
                      <a:pt x="0" y="605381"/>
                    </a:lnTo>
                    <a:close/>
                    <a:moveTo>
                      <a:pt x="321849" y="269278"/>
                    </a:moveTo>
                    <a:lnTo>
                      <a:pt x="394531" y="269278"/>
                    </a:lnTo>
                    <a:lnTo>
                      <a:pt x="394531" y="511247"/>
                    </a:lnTo>
                    <a:lnTo>
                      <a:pt x="358501" y="511247"/>
                    </a:lnTo>
                    <a:lnTo>
                      <a:pt x="321849" y="511247"/>
                    </a:lnTo>
                    <a:close/>
                    <a:moveTo>
                      <a:pt x="212966" y="269278"/>
                    </a:moveTo>
                    <a:lnTo>
                      <a:pt x="285790" y="269278"/>
                    </a:lnTo>
                    <a:lnTo>
                      <a:pt x="285790" y="511247"/>
                    </a:lnTo>
                    <a:lnTo>
                      <a:pt x="249111" y="511247"/>
                    </a:lnTo>
                    <a:lnTo>
                      <a:pt x="212966" y="511247"/>
                    </a:lnTo>
                    <a:close/>
                    <a:moveTo>
                      <a:pt x="446972" y="242181"/>
                    </a:moveTo>
                    <a:lnTo>
                      <a:pt x="553523" y="242181"/>
                    </a:lnTo>
                    <a:lnTo>
                      <a:pt x="553523" y="453133"/>
                    </a:lnTo>
                    <a:lnTo>
                      <a:pt x="583788" y="453133"/>
                    </a:lnTo>
                    <a:lnTo>
                      <a:pt x="583788" y="511247"/>
                    </a:lnTo>
                    <a:lnTo>
                      <a:pt x="547648" y="511247"/>
                    </a:lnTo>
                    <a:lnTo>
                      <a:pt x="452758" y="511247"/>
                    </a:lnTo>
                    <a:lnTo>
                      <a:pt x="416618" y="511247"/>
                    </a:lnTo>
                    <a:lnTo>
                      <a:pt x="416618" y="453133"/>
                    </a:lnTo>
                    <a:lnTo>
                      <a:pt x="446972" y="453133"/>
                    </a:lnTo>
                    <a:close/>
                    <a:moveTo>
                      <a:pt x="54106" y="242181"/>
                    </a:moveTo>
                    <a:lnTo>
                      <a:pt x="160624" y="242181"/>
                    </a:lnTo>
                    <a:lnTo>
                      <a:pt x="160624" y="453133"/>
                    </a:lnTo>
                    <a:lnTo>
                      <a:pt x="190879" y="453133"/>
                    </a:lnTo>
                    <a:lnTo>
                      <a:pt x="190879" y="511247"/>
                    </a:lnTo>
                    <a:lnTo>
                      <a:pt x="154839" y="511247"/>
                    </a:lnTo>
                    <a:lnTo>
                      <a:pt x="59891" y="511247"/>
                    </a:lnTo>
                    <a:lnTo>
                      <a:pt x="23851" y="511247"/>
                    </a:lnTo>
                    <a:lnTo>
                      <a:pt x="23851" y="453133"/>
                    </a:lnTo>
                    <a:lnTo>
                      <a:pt x="54106" y="453133"/>
                    </a:lnTo>
                    <a:close/>
                    <a:moveTo>
                      <a:pt x="303820" y="98933"/>
                    </a:moveTo>
                    <a:cubicBezTo>
                      <a:pt x="314479" y="98933"/>
                      <a:pt x="323120" y="107542"/>
                      <a:pt x="323120" y="118162"/>
                    </a:cubicBezTo>
                    <a:cubicBezTo>
                      <a:pt x="323120" y="128782"/>
                      <a:pt x="314479" y="137391"/>
                      <a:pt x="303820" y="137391"/>
                    </a:cubicBezTo>
                    <a:cubicBezTo>
                      <a:pt x="293161" y="137391"/>
                      <a:pt x="284520" y="128782"/>
                      <a:pt x="284520" y="118162"/>
                    </a:cubicBezTo>
                    <a:cubicBezTo>
                      <a:pt x="284520" y="107542"/>
                      <a:pt x="293161" y="98933"/>
                      <a:pt x="303820" y="98933"/>
                    </a:cubicBezTo>
                    <a:close/>
                    <a:moveTo>
                      <a:pt x="303749" y="62835"/>
                    </a:moveTo>
                    <a:cubicBezTo>
                      <a:pt x="273221" y="62835"/>
                      <a:pt x="248388" y="87631"/>
                      <a:pt x="248388" y="118116"/>
                    </a:cubicBezTo>
                    <a:cubicBezTo>
                      <a:pt x="248388" y="148600"/>
                      <a:pt x="273221" y="173397"/>
                      <a:pt x="303749" y="173397"/>
                    </a:cubicBezTo>
                    <a:cubicBezTo>
                      <a:pt x="334278" y="173397"/>
                      <a:pt x="359111" y="148600"/>
                      <a:pt x="359111" y="118116"/>
                    </a:cubicBezTo>
                    <a:cubicBezTo>
                      <a:pt x="359111" y="87631"/>
                      <a:pt x="334278" y="62835"/>
                      <a:pt x="303749" y="62835"/>
                    </a:cubicBezTo>
                    <a:close/>
                    <a:moveTo>
                      <a:pt x="303749" y="0"/>
                    </a:moveTo>
                    <a:lnTo>
                      <a:pt x="586964" y="141490"/>
                    </a:lnTo>
                    <a:lnTo>
                      <a:pt x="586964" y="206192"/>
                    </a:lnTo>
                    <a:lnTo>
                      <a:pt x="20535" y="206192"/>
                    </a:lnTo>
                    <a:lnTo>
                      <a:pt x="20535" y="141490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4" name="íşļîḋê"/>
            <p:cNvGrpSpPr/>
            <p:nvPr/>
          </p:nvGrpSpPr>
          <p:grpSpPr>
            <a:xfrm>
              <a:off x="8466932" y="3073402"/>
              <a:ext cx="650874" cy="650872"/>
              <a:chOff x="753007" y="2242886"/>
              <a:chExt cx="643355" cy="643355"/>
            </a:xfrm>
          </p:grpSpPr>
          <p:sp>
            <p:nvSpPr>
              <p:cNvPr id="23" name="ïṥḷîďé"/>
              <p:cNvSpPr/>
              <p:nvPr/>
            </p:nvSpPr>
            <p:spPr bwMode="auto">
              <a:xfrm>
                <a:off x="753007" y="2242886"/>
                <a:ext cx="643355" cy="643355"/>
              </a:xfrm>
              <a:prstGeom prst="ellipse">
                <a:avLst/>
              </a:prstGeom>
              <a:solidFill>
                <a:srgbClr val="C00000"/>
              </a:solidFill>
              <a:ln w="3175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4" name="íśľiḍê"/>
              <p:cNvSpPr/>
              <p:nvPr/>
            </p:nvSpPr>
            <p:spPr bwMode="auto">
              <a:xfrm>
                <a:off x="926604" y="2417033"/>
                <a:ext cx="296160" cy="295059"/>
              </a:xfrm>
              <a:custGeom>
                <a:avLst/>
                <a:gdLst>
                  <a:gd name="connsiteX0" fmla="*/ 0 w 607639"/>
                  <a:gd name="connsiteY0" fmla="*/ 547235 h 605381"/>
                  <a:gd name="connsiteX1" fmla="*/ 23853 w 607639"/>
                  <a:gd name="connsiteY1" fmla="*/ 547235 h 605381"/>
                  <a:gd name="connsiteX2" fmla="*/ 36136 w 607639"/>
                  <a:gd name="connsiteY2" fmla="*/ 547235 h 605381"/>
                  <a:gd name="connsiteX3" fmla="*/ 190916 w 607639"/>
                  <a:gd name="connsiteY3" fmla="*/ 547235 h 605381"/>
                  <a:gd name="connsiteX4" fmla="*/ 212990 w 607639"/>
                  <a:gd name="connsiteY4" fmla="*/ 547235 h 605381"/>
                  <a:gd name="connsiteX5" fmla="*/ 394560 w 607639"/>
                  <a:gd name="connsiteY5" fmla="*/ 547235 h 605381"/>
                  <a:gd name="connsiteX6" fmla="*/ 416634 w 607639"/>
                  <a:gd name="connsiteY6" fmla="*/ 547235 h 605381"/>
                  <a:gd name="connsiteX7" fmla="*/ 571503 w 607639"/>
                  <a:gd name="connsiteY7" fmla="*/ 547235 h 605381"/>
                  <a:gd name="connsiteX8" fmla="*/ 583786 w 607639"/>
                  <a:gd name="connsiteY8" fmla="*/ 547235 h 605381"/>
                  <a:gd name="connsiteX9" fmla="*/ 607639 w 607639"/>
                  <a:gd name="connsiteY9" fmla="*/ 547235 h 605381"/>
                  <a:gd name="connsiteX10" fmla="*/ 607639 w 607639"/>
                  <a:gd name="connsiteY10" fmla="*/ 605381 h 605381"/>
                  <a:gd name="connsiteX11" fmla="*/ 0 w 607639"/>
                  <a:gd name="connsiteY11" fmla="*/ 605381 h 605381"/>
                  <a:gd name="connsiteX12" fmla="*/ 321849 w 607639"/>
                  <a:gd name="connsiteY12" fmla="*/ 269278 h 605381"/>
                  <a:gd name="connsiteX13" fmla="*/ 394531 w 607639"/>
                  <a:gd name="connsiteY13" fmla="*/ 269278 h 605381"/>
                  <a:gd name="connsiteX14" fmla="*/ 394531 w 607639"/>
                  <a:gd name="connsiteY14" fmla="*/ 511247 h 605381"/>
                  <a:gd name="connsiteX15" fmla="*/ 358501 w 607639"/>
                  <a:gd name="connsiteY15" fmla="*/ 511247 h 605381"/>
                  <a:gd name="connsiteX16" fmla="*/ 321849 w 607639"/>
                  <a:gd name="connsiteY16" fmla="*/ 511247 h 605381"/>
                  <a:gd name="connsiteX17" fmla="*/ 212966 w 607639"/>
                  <a:gd name="connsiteY17" fmla="*/ 269278 h 605381"/>
                  <a:gd name="connsiteX18" fmla="*/ 285790 w 607639"/>
                  <a:gd name="connsiteY18" fmla="*/ 269278 h 605381"/>
                  <a:gd name="connsiteX19" fmla="*/ 285790 w 607639"/>
                  <a:gd name="connsiteY19" fmla="*/ 511247 h 605381"/>
                  <a:gd name="connsiteX20" fmla="*/ 249111 w 607639"/>
                  <a:gd name="connsiteY20" fmla="*/ 511247 h 605381"/>
                  <a:gd name="connsiteX21" fmla="*/ 212966 w 607639"/>
                  <a:gd name="connsiteY21" fmla="*/ 511247 h 605381"/>
                  <a:gd name="connsiteX22" fmla="*/ 446972 w 607639"/>
                  <a:gd name="connsiteY22" fmla="*/ 242181 h 605381"/>
                  <a:gd name="connsiteX23" fmla="*/ 553523 w 607639"/>
                  <a:gd name="connsiteY23" fmla="*/ 242181 h 605381"/>
                  <a:gd name="connsiteX24" fmla="*/ 553523 w 607639"/>
                  <a:gd name="connsiteY24" fmla="*/ 453133 h 605381"/>
                  <a:gd name="connsiteX25" fmla="*/ 583788 w 607639"/>
                  <a:gd name="connsiteY25" fmla="*/ 453133 h 605381"/>
                  <a:gd name="connsiteX26" fmla="*/ 583788 w 607639"/>
                  <a:gd name="connsiteY26" fmla="*/ 511247 h 605381"/>
                  <a:gd name="connsiteX27" fmla="*/ 547648 w 607639"/>
                  <a:gd name="connsiteY27" fmla="*/ 511247 h 605381"/>
                  <a:gd name="connsiteX28" fmla="*/ 452758 w 607639"/>
                  <a:gd name="connsiteY28" fmla="*/ 511247 h 605381"/>
                  <a:gd name="connsiteX29" fmla="*/ 416618 w 607639"/>
                  <a:gd name="connsiteY29" fmla="*/ 511247 h 605381"/>
                  <a:gd name="connsiteX30" fmla="*/ 416618 w 607639"/>
                  <a:gd name="connsiteY30" fmla="*/ 453133 h 605381"/>
                  <a:gd name="connsiteX31" fmla="*/ 446972 w 607639"/>
                  <a:gd name="connsiteY31" fmla="*/ 453133 h 605381"/>
                  <a:gd name="connsiteX32" fmla="*/ 54106 w 607639"/>
                  <a:gd name="connsiteY32" fmla="*/ 242181 h 605381"/>
                  <a:gd name="connsiteX33" fmla="*/ 160624 w 607639"/>
                  <a:gd name="connsiteY33" fmla="*/ 242181 h 605381"/>
                  <a:gd name="connsiteX34" fmla="*/ 160624 w 607639"/>
                  <a:gd name="connsiteY34" fmla="*/ 453133 h 605381"/>
                  <a:gd name="connsiteX35" fmla="*/ 190879 w 607639"/>
                  <a:gd name="connsiteY35" fmla="*/ 453133 h 605381"/>
                  <a:gd name="connsiteX36" fmla="*/ 190879 w 607639"/>
                  <a:gd name="connsiteY36" fmla="*/ 511247 h 605381"/>
                  <a:gd name="connsiteX37" fmla="*/ 154839 w 607639"/>
                  <a:gd name="connsiteY37" fmla="*/ 511247 h 605381"/>
                  <a:gd name="connsiteX38" fmla="*/ 59891 w 607639"/>
                  <a:gd name="connsiteY38" fmla="*/ 511247 h 605381"/>
                  <a:gd name="connsiteX39" fmla="*/ 23851 w 607639"/>
                  <a:gd name="connsiteY39" fmla="*/ 511247 h 605381"/>
                  <a:gd name="connsiteX40" fmla="*/ 23851 w 607639"/>
                  <a:gd name="connsiteY40" fmla="*/ 453133 h 605381"/>
                  <a:gd name="connsiteX41" fmla="*/ 54106 w 607639"/>
                  <a:gd name="connsiteY41" fmla="*/ 453133 h 605381"/>
                  <a:gd name="connsiteX42" fmla="*/ 303820 w 607639"/>
                  <a:gd name="connsiteY42" fmla="*/ 98933 h 605381"/>
                  <a:gd name="connsiteX43" fmla="*/ 323120 w 607639"/>
                  <a:gd name="connsiteY43" fmla="*/ 118162 h 605381"/>
                  <a:gd name="connsiteX44" fmla="*/ 303820 w 607639"/>
                  <a:gd name="connsiteY44" fmla="*/ 137391 h 605381"/>
                  <a:gd name="connsiteX45" fmla="*/ 284520 w 607639"/>
                  <a:gd name="connsiteY45" fmla="*/ 118162 h 605381"/>
                  <a:gd name="connsiteX46" fmla="*/ 303820 w 607639"/>
                  <a:gd name="connsiteY46" fmla="*/ 98933 h 605381"/>
                  <a:gd name="connsiteX47" fmla="*/ 303749 w 607639"/>
                  <a:gd name="connsiteY47" fmla="*/ 62835 h 605381"/>
                  <a:gd name="connsiteX48" fmla="*/ 248388 w 607639"/>
                  <a:gd name="connsiteY48" fmla="*/ 118116 h 605381"/>
                  <a:gd name="connsiteX49" fmla="*/ 303749 w 607639"/>
                  <a:gd name="connsiteY49" fmla="*/ 173397 h 605381"/>
                  <a:gd name="connsiteX50" fmla="*/ 359111 w 607639"/>
                  <a:gd name="connsiteY50" fmla="*/ 118116 h 605381"/>
                  <a:gd name="connsiteX51" fmla="*/ 303749 w 607639"/>
                  <a:gd name="connsiteY51" fmla="*/ 62835 h 605381"/>
                  <a:gd name="connsiteX52" fmla="*/ 303749 w 607639"/>
                  <a:gd name="connsiteY52" fmla="*/ 0 h 605381"/>
                  <a:gd name="connsiteX53" fmla="*/ 586964 w 607639"/>
                  <a:gd name="connsiteY53" fmla="*/ 141490 h 605381"/>
                  <a:gd name="connsiteX54" fmla="*/ 586964 w 607639"/>
                  <a:gd name="connsiteY54" fmla="*/ 206192 h 605381"/>
                  <a:gd name="connsiteX55" fmla="*/ 20535 w 607639"/>
                  <a:gd name="connsiteY55" fmla="*/ 206192 h 605381"/>
                  <a:gd name="connsiteX56" fmla="*/ 20535 w 607639"/>
                  <a:gd name="connsiteY56" fmla="*/ 141490 h 60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607639" h="605381">
                    <a:moveTo>
                      <a:pt x="0" y="547235"/>
                    </a:moveTo>
                    <a:lnTo>
                      <a:pt x="23853" y="547235"/>
                    </a:lnTo>
                    <a:lnTo>
                      <a:pt x="36136" y="547235"/>
                    </a:lnTo>
                    <a:lnTo>
                      <a:pt x="190916" y="547235"/>
                    </a:lnTo>
                    <a:lnTo>
                      <a:pt x="212990" y="547235"/>
                    </a:lnTo>
                    <a:lnTo>
                      <a:pt x="394560" y="547235"/>
                    </a:lnTo>
                    <a:lnTo>
                      <a:pt x="416634" y="547235"/>
                    </a:lnTo>
                    <a:lnTo>
                      <a:pt x="571503" y="547235"/>
                    </a:lnTo>
                    <a:lnTo>
                      <a:pt x="583786" y="547235"/>
                    </a:lnTo>
                    <a:lnTo>
                      <a:pt x="607639" y="547235"/>
                    </a:lnTo>
                    <a:lnTo>
                      <a:pt x="607639" y="605381"/>
                    </a:lnTo>
                    <a:lnTo>
                      <a:pt x="0" y="605381"/>
                    </a:lnTo>
                    <a:close/>
                    <a:moveTo>
                      <a:pt x="321849" y="269278"/>
                    </a:moveTo>
                    <a:lnTo>
                      <a:pt x="394531" y="269278"/>
                    </a:lnTo>
                    <a:lnTo>
                      <a:pt x="394531" y="511247"/>
                    </a:lnTo>
                    <a:lnTo>
                      <a:pt x="358501" y="511247"/>
                    </a:lnTo>
                    <a:lnTo>
                      <a:pt x="321849" y="511247"/>
                    </a:lnTo>
                    <a:close/>
                    <a:moveTo>
                      <a:pt x="212966" y="269278"/>
                    </a:moveTo>
                    <a:lnTo>
                      <a:pt x="285790" y="269278"/>
                    </a:lnTo>
                    <a:lnTo>
                      <a:pt x="285790" y="511247"/>
                    </a:lnTo>
                    <a:lnTo>
                      <a:pt x="249111" y="511247"/>
                    </a:lnTo>
                    <a:lnTo>
                      <a:pt x="212966" y="511247"/>
                    </a:lnTo>
                    <a:close/>
                    <a:moveTo>
                      <a:pt x="446972" y="242181"/>
                    </a:moveTo>
                    <a:lnTo>
                      <a:pt x="553523" y="242181"/>
                    </a:lnTo>
                    <a:lnTo>
                      <a:pt x="553523" y="453133"/>
                    </a:lnTo>
                    <a:lnTo>
                      <a:pt x="583788" y="453133"/>
                    </a:lnTo>
                    <a:lnTo>
                      <a:pt x="583788" y="511247"/>
                    </a:lnTo>
                    <a:lnTo>
                      <a:pt x="547648" y="511247"/>
                    </a:lnTo>
                    <a:lnTo>
                      <a:pt x="452758" y="511247"/>
                    </a:lnTo>
                    <a:lnTo>
                      <a:pt x="416618" y="511247"/>
                    </a:lnTo>
                    <a:lnTo>
                      <a:pt x="416618" y="453133"/>
                    </a:lnTo>
                    <a:lnTo>
                      <a:pt x="446972" y="453133"/>
                    </a:lnTo>
                    <a:close/>
                    <a:moveTo>
                      <a:pt x="54106" y="242181"/>
                    </a:moveTo>
                    <a:lnTo>
                      <a:pt x="160624" y="242181"/>
                    </a:lnTo>
                    <a:lnTo>
                      <a:pt x="160624" y="453133"/>
                    </a:lnTo>
                    <a:lnTo>
                      <a:pt x="190879" y="453133"/>
                    </a:lnTo>
                    <a:lnTo>
                      <a:pt x="190879" y="511247"/>
                    </a:lnTo>
                    <a:lnTo>
                      <a:pt x="154839" y="511247"/>
                    </a:lnTo>
                    <a:lnTo>
                      <a:pt x="59891" y="511247"/>
                    </a:lnTo>
                    <a:lnTo>
                      <a:pt x="23851" y="511247"/>
                    </a:lnTo>
                    <a:lnTo>
                      <a:pt x="23851" y="453133"/>
                    </a:lnTo>
                    <a:lnTo>
                      <a:pt x="54106" y="453133"/>
                    </a:lnTo>
                    <a:close/>
                    <a:moveTo>
                      <a:pt x="303820" y="98933"/>
                    </a:moveTo>
                    <a:cubicBezTo>
                      <a:pt x="314479" y="98933"/>
                      <a:pt x="323120" y="107542"/>
                      <a:pt x="323120" y="118162"/>
                    </a:cubicBezTo>
                    <a:cubicBezTo>
                      <a:pt x="323120" y="128782"/>
                      <a:pt x="314479" y="137391"/>
                      <a:pt x="303820" y="137391"/>
                    </a:cubicBezTo>
                    <a:cubicBezTo>
                      <a:pt x="293161" y="137391"/>
                      <a:pt x="284520" y="128782"/>
                      <a:pt x="284520" y="118162"/>
                    </a:cubicBezTo>
                    <a:cubicBezTo>
                      <a:pt x="284520" y="107542"/>
                      <a:pt x="293161" y="98933"/>
                      <a:pt x="303820" y="98933"/>
                    </a:cubicBezTo>
                    <a:close/>
                    <a:moveTo>
                      <a:pt x="303749" y="62835"/>
                    </a:moveTo>
                    <a:cubicBezTo>
                      <a:pt x="273221" y="62835"/>
                      <a:pt x="248388" y="87631"/>
                      <a:pt x="248388" y="118116"/>
                    </a:cubicBezTo>
                    <a:cubicBezTo>
                      <a:pt x="248388" y="148600"/>
                      <a:pt x="273221" y="173397"/>
                      <a:pt x="303749" y="173397"/>
                    </a:cubicBezTo>
                    <a:cubicBezTo>
                      <a:pt x="334278" y="173397"/>
                      <a:pt x="359111" y="148600"/>
                      <a:pt x="359111" y="118116"/>
                    </a:cubicBezTo>
                    <a:cubicBezTo>
                      <a:pt x="359111" y="87631"/>
                      <a:pt x="334278" y="62835"/>
                      <a:pt x="303749" y="62835"/>
                    </a:cubicBezTo>
                    <a:close/>
                    <a:moveTo>
                      <a:pt x="303749" y="0"/>
                    </a:moveTo>
                    <a:lnTo>
                      <a:pt x="586964" y="141490"/>
                    </a:lnTo>
                    <a:lnTo>
                      <a:pt x="586964" y="206192"/>
                    </a:lnTo>
                    <a:lnTo>
                      <a:pt x="20535" y="206192"/>
                    </a:lnTo>
                    <a:lnTo>
                      <a:pt x="20535" y="141490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dk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endParaRPr>
              </a:p>
            </p:txBody>
          </p:sp>
        </p:grpSp>
        <p:sp>
          <p:nvSpPr>
            <p:cNvPr id="15" name="íŝľíḋe"/>
            <p:cNvSpPr txBox="1"/>
            <p:nvPr/>
          </p:nvSpPr>
          <p:spPr bwMode="auto">
            <a:xfrm>
              <a:off x="8839201" y="1236423"/>
              <a:ext cx="2679700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0000"/>
                  </a:solidFill>
                  <a:ea typeface="阿里巴巴普惠体" panose="00020600040101010101" pitchFamily="18" charset="-122"/>
                </a:rPr>
                <a:t>添加标题内容</a:t>
              </a:r>
              <a:endParaRPr lang="en-US" altLang="zh-CN" b="1" dirty="0">
                <a:solidFill>
                  <a:srgbClr val="000000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16" name="ísļïḑè"/>
            <p:cNvSpPr/>
            <p:nvPr/>
          </p:nvSpPr>
          <p:spPr bwMode="auto">
            <a:xfrm>
              <a:off x="8839201" y="1678229"/>
              <a:ext cx="2679700" cy="6997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1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17" name="ïṧ1ídé"/>
            <p:cNvSpPr txBox="1"/>
            <p:nvPr/>
          </p:nvSpPr>
          <p:spPr bwMode="auto">
            <a:xfrm>
              <a:off x="9179719" y="2807778"/>
              <a:ext cx="2339181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0000"/>
                  </a:solidFill>
                  <a:ea typeface="阿里巴巴普惠体" panose="00020600040101010101" pitchFamily="18" charset="-122"/>
                </a:rPr>
                <a:t>添加标题内容</a:t>
              </a:r>
              <a:endParaRPr lang="en-US" altLang="zh-CN" b="1" dirty="0">
                <a:solidFill>
                  <a:srgbClr val="000000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18" name="iṣḷiḍe"/>
            <p:cNvSpPr/>
            <p:nvPr/>
          </p:nvSpPr>
          <p:spPr bwMode="auto">
            <a:xfrm>
              <a:off x="9179719" y="3249584"/>
              <a:ext cx="2339181" cy="1078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1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  <a:p>
              <a:pPr marR="0" lvl="0" algn="l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19" name="ïṧḷíḑe"/>
            <p:cNvSpPr txBox="1"/>
            <p:nvPr/>
          </p:nvSpPr>
          <p:spPr bwMode="auto">
            <a:xfrm>
              <a:off x="669925" y="4608034"/>
              <a:ext cx="2244725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r">
                <a:spcBef>
                  <a:spcPct val="0"/>
                </a:spcBef>
                <a:defRPr/>
              </a:pPr>
              <a:r>
                <a:rPr lang="zh-CN" altLang="en-US" b="1" dirty="0">
                  <a:solidFill>
                    <a:srgbClr val="000000"/>
                  </a:solidFill>
                  <a:ea typeface="阿里巴巴普惠体" panose="00020600040101010101" pitchFamily="18" charset="-122"/>
                </a:rPr>
                <a:t>添加标题内容</a:t>
              </a:r>
              <a:endParaRPr lang="en-US" altLang="zh-CN" b="1" dirty="0">
                <a:solidFill>
                  <a:srgbClr val="000000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20" name="îŝļidê"/>
            <p:cNvSpPr/>
            <p:nvPr/>
          </p:nvSpPr>
          <p:spPr bwMode="auto">
            <a:xfrm>
              <a:off x="669925" y="5049840"/>
              <a:ext cx="2244725" cy="6997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  <a:defRPr/>
              </a:pPr>
              <a:r>
                <a:rPr lang="zh-CN" altLang="en-US" sz="11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  <a:p>
              <a:pPr marR="0" lvl="0" algn="r" defTabSz="913765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21" name="í$líḑe"/>
            <p:cNvSpPr txBox="1"/>
            <p:nvPr/>
          </p:nvSpPr>
          <p:spPr bwMode="auto">
            <a:xfrm>
              <a:off x="673099" y="1130300"/>
              <a:ext cx="3589337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阿里巴巴普惠体" panose="00020600040101010101" pitchFamily="18" charset="-122"/>
                </a:rPr>
                <a:t>添加标题内容</a:t>
              </a:r>
              <a:endPara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阿里巴巴普惠体" panose="00020600040101010101" pitchFamily="18" charset="-122"/>
              </a:endParaRPr>
            </a:p>
          </p:txBody>
        </p:sp>
        <p:sp>
          <p:nvSpPr>
            <p:cNvPr id="22" name="íSḻíḑe"/>
            <p:cNvSpPr/>
            <p:nvPr/>
          </p:nvSpPr>
          <p:spPr bwMode="auto">
            <a:xfrm>
              <a:off x="673099" y="1572106"/>
              <a:ext cx="3589337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defRPr/>
              </a:pPr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</p:grpSp>
      <p:sp>
        <p:nvSpPr>
          <p:cNvPr id="29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2404270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368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87279" y="1130300"/>
            <a:ext cx="11503134" cy="5086021"/>
            <a:chOff x="687279" y="1130300"/>
            <a:chExt cx="11503134" cy="5086021"/>
          </a:xfrm>
        </p:grpSpPr>
        <p:grpSp>
          <p:nvGrpSpPr>
            <p:cNvPr id="6" name="ï$ḷïḓe"/>
            <p:cNvGrpSpPr/>
            <p:nvPr/>
          </p:nvGrpSpPr>
          <p:grpSpPr>
            <a:xfrm>
              <a:off x="687279" y="2723611"/>
              <a:ext cx="3923722" cy="1899399"/>
              <a:chOff x="687279" y="2943231"/>
              <a:chExt cx="3923722" cy="1899399"/>
            </a:xfrm>
          </p:grpSpPr>
          <p:sp>
            <p:nvSpPr>
              <p:cNvPr id="34" name="ïşlíḋe"/>
              <p:cNvSpPr/>
              <p:nvPr/>
            </p:nvSpPr>
            <p:spPr>
              <a:xfrm>
                <a:off x="687279" y="3385036"/>
                <a:ext cx="3923722" cy="1457594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35" name="íṧliḑè"/>
              <p:cNvSpPr txBox="1"/>
              <p:nvPr/>
            </p:nvSpPr>
            <p:spPr bwMode="auto">
              <a:xfrm>
                <a:off x="687279" y="2943231"/>
                <a:ext cx="392372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点击此处输入标题</a:t>
                </a:r>
                <a:endParaRPr lang="en-US" altLang="zh-CN" sz="2000" b="1" dirty="0">
                  <a:ea typeface="阿里巴巴普惠体" panose="00020600040101010101" pitchFamily="18" charset="-122"/>
                </a:endParaRPr>
              </a:p>
            </p:txBody>
          </p:sp>
        </p:grpSp>
        <p:sp>
          <p:nvSpPr>
            <p:cNvPr id="7" name="ïṩḻîḓè"/>
            <p:cNvSpPr/>
            <p:nvPr/>
          </p:nvSpPr>
          <p:spPr>
            <a:xfrm>
              <a:off x="5134027" y="1130300"/>
              <a:ext cx="7056386" cy="150976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8" name="ïşľíde"/>
            <p:cNvSpPr/>
            <p:nvPr/>
          </p:nvSpPr>
          <p:spPr>
            <a:xfrm>
              <a:off x="5134027" y="2937479"/>
              <a:ext cx="7056386" cy="150976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9" name="ïSľïďê"/>
            <p:cNvSpPr/>
            <p:nvPr/>
          </p:nvSpPr>
          <p:spPr>
            <a:xfrm>
              <a:off x="5134027" y="4706556"/>
              <a:ext cx="7056386" cy="150976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0" name="iš1ïḑè"/>
            <p:cNvSpPr/>
            <p:nvPr/>
          </p:nvSpPr>
          <p:spPr>
            <a:xfrm>
              <a:off x="5570406" y="3492316"/>
              <a:ext cx="1304055" cy="4000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buSzPct val="25000"/>
              </a:pPr>
              <a:r>
                <a:rPr lang="zh-CN" altLang="en-US" sz="2000" b="1" dirty="0">
                  <a:solidFill>
                    <a:schemeClr val="bg1">
                      <a:lumMod val="100000"/>
                    </a:schemeClr>
                  </a:solidFill>
                  <a:ea typeface="阿里巴巴普惠体" panose="00020600040101010101" pitchFamily="18" charset="-122"/>
                </a:rPr>
                <a:t>添加标题</a:t>
              </a:r>
            </a:p>
          </p:txBody>
        </p:sp>
        <p:sp>
          <p:nvSpPr>
            <p:cNvPr id="11" name="işlîḓé"/>
            <p:cNvSpPr/>
            <p:nvPr/>
          </p:nvSpPr>
          <p:spPr>
            <a:xfrm>
              <a:off x="5570406" y="5261393"/>
              <a:ext cx="1304055" cy="4000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buSzPct val="25000"/>
              </a:pPr>
              <a:r>
                <a:rPr lang="zh-CN" altLang="en-US" sz="2000" b="1" dirty="0">
                  <a:solidFill>
                    <a:schemeClr val="bg1">
                      <a:lumMod val="100000"/>
                    </a:schemeClr>
                  </a:solidFill>
                  <a:ea typeface="阿里巴巴普惠体" panose="00020600040101010101" pitchFamily="18" charset="-122"/>
                </a:rPr>
                <a:t>添加标题</a:t>
              </a:r>
            </a:p>
          </p:txBody>
        </p:sp>
        <p:sp>
          <p:nvSpPr>
            <p:cNvPr id="12" name="ïsḻiḑe"/>
            <p:cNvSpPr/>
            <p:nvPr/>
          </p:nvSpPr>
          <p:spPr>
            <a:xfrm>
              <a:off x="5570406" y="1685137"/>
              <a:ext cx="1304055" cy="4000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>
                <a:buSzPct val="25000"/>
              </a:pPr>
              <a:r>
                <a:rPr lang="zh-CN" altLang="en-US" sz="2000" b="1" dirty="0">
                  <a:solidFill>
                    <a:schemeClr val="bg1">
                      <a:lumMod val="100000"/>
                    </a:schemeClr>
                  </a:solidFill>
                  <a:ea typeface="阿里巴巴普惠体" panose="00020600040101010101" pitchFamily="18" charset="-122"/>
                </a:rPr>
                <a:t>添加标题</a:t>
              </a:r>
            </a:p>
          </p:txBody>
        </p:sp>
        <p:grpSp>
          <p:nvGrpSpPr>
            <p:cNvPr id="13" name="íṥḻïḍe"/>
            <p:cNvGrpSpPr/>
            <p:nvPr/>
          </p:nvGrpSpPr>
          <p:grpSpPr>
            <a:xfrm>
              <a:off x="4702731" y="1584480"/>
              <a:ext cx="601404" cy="601404"/>
              <a:chOff x="4910625" y="1914436"/>
              <a:chExt cx="415102" cy="415102"/>
            </a:xfrm>
          </p:grpSpPr>
          <p:sp>
            <p:nvSpPr>
              <p:cNvPr id="32" name="iṧlïḋe"/>
              <p:cNvSpPr/>
              <p:nvPr/>
            </p:nvSpPr>
            <p:spPr>
              <a:xfrm>
                <a:off x="4910625" y="1914436"/>
                <a:ext cx="415102" cy="41510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33" name="íṡḻiḍe"/>
              <p:cNvSpPr/>
              <p:nvPr/>
            </p:nvSpPr>
            <p:spPr>
              <a:xfrm>
                <a:off x="5031850" y="2040050"/>
                <a:ext cx="172652" cy="16387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800" y="63664"/>
                    </a:moveTo>
                    <a:lnTo>
                      <a:pt x="119800" y="63664"/>
                    </a:lnTo>
                    <a:cubicBezTo>
                      <a:pt x="119800" y="66596"/>
                      <a:pt x="118405" y="69528"/>
                      <a:pt x="114219" y="69528"/>
                    </a:cubicBezTo>
                    <a:cubicBezTo>
                      <a:pt x="112823" y="69528"/>
                      <a:pt x="111428" y="68062"/>
                      <a:pt x="111428" y="68062"/>
                    </a:cubicBezTo>
                    <a:lnTo>
                      <a:pt x="111428" y="68062"/>
                    </a:lnTo>
                    <a:cubicBezTo>
                      <a:pt x="60598" y="14869"/>
                      <a:pt x="60598" y="14869"/>
                      <a:pt x="60598" y="14869"/>
                    </a:cubicBezTo>
                    <a:lnTo>
                      <a:pt x="60598" y="14869"/>
                    </a:lnTo>
                    <a:lnTo>
                      <a:pt x="60598" y="14869"/>
                    </a:lnTo>
                    <a:lnTo>
                      <a:pt x="60598" y="14869"/>
                    </a:lnTo>
                    <a:cubicBezTo>
                      <a:pt x="9966" y="68062"/>
                      <a:pt x="9966" y="68062"/>
                      <a:pt x="9966" y="68062"/>
                    </a:cubicBezTo>
                    <a:lnTo>
                      <a:pt x="9966" y="68062"/>
                    </a:lnTo>
                    <a:cubicBezTo>
                      <a:pt x="8571" y="68062"/>
                      <a:pt x="7176" y="69528"/>
                      <a:pt x="5780" y="69528"/>
                    </a:cubicBezTo>
                    <a:cubicBezTo>
                      <a:pt x="2990" y="69528"/>
                      <a:pt x="0" y="66596"/>
                      <a:pt x="0" y="63664"/>
                    </a:cubicBezTo>
                    <a:cubicBezTo>
                      <a:pt x="0" y="62198"/>
                      <a:pt x="0" y="60523"/>
                      <a:pt x="1395" y="59057"/>
                    </a:cubicBezTo>
                    <a:cubicBezTo>
                      <a:pt x="56411" y="1465"/>
                      <a:pt x="56411" y="1465"/>
                      <a:pt x="56411" y="1465"/>
                    </a:cubicBezTo>
                    <a:cubicBezTo>
                      <a:pt x="57807" y="0"/>
                      <a:pt x="59202" y="0"/>
                      <a:pt x="60598" y="0"/>
                    </a:cubicBezTo>
                    <a:lnTo>
                      <a:pt x="60598" y="0"/>
                    </a:lnTo>
                    <a:lnTo>
                      <a:pt x="60598" y="0"/>
                    </a:lnTo>
                    <a:lnTo>
                      <a:pt x="60598" y="0"/>
                    </a:lnTo>
                    <a:lnTo>
                      <a:pt x="60598" y="0"/>
                    </a:lnTo>
                    <a:lnTo>
                      <a:pt x="60598" y="0"/>
                    </a:lnTo>
                    <a:lnTo>
                      <a:pt x="60598" y="0"/>
                    </a:lnTo>
                    <a:lnTo>
                      <a:pt x="60598" y="0"/>
                    </a:lnTo>
                    <a:cubicBezTo>
                      <a:pt x="61993" y="0"/>
                      <a:pt x="63388" y="1465"/>
                      <a:pt x="64784" y="1465"/>
                    </a:cubicBezTo>
                    <a:lnTo>
                      <a:pt x="64784" y="1465"/>
                    </a:lnTo>
                    <a:cubicBezTo>
                      <a:pt x="85913" y="25130"/>
                      <a:pt x="85913" y="25130"/>
                      <a:pt x="85913" y="25130"/>
                    </a:cubicBezTo>
                    <a:cubicBezTo>
                      <a:pt x="85913" y="19267"/>
                      <a:pt x="85913" y="19267"/>
                      <a:pt x="85913" y="19267"/>
                    </a:cubicBezTo>
                    <a:cubicBezTo>
                      <a:pt x="85913" y="16335"/>
                      <a:pt x="88903" y="13193"/>
                      <a:pt x="91694" y="13193"/>
                    </a:cubicBezTo>
                    <a:cubicBezTo>
                      <a:pt x="95880" y="13193"/>
                      <a:pt x="97275" y="16335"/>
                      <a:pt x="97275" y="19267"/>
                    </a:cubicBezTo>
                    <a:cubicBezTo>
                      <a:pt x="97275" y="36858"/>
                      <a:pt x="97275" y="36858"/>
                      <a:pt x="97275" y="36858"/>
                    </a:cubicBezTo>
                    <a:cubicBezTo>
                      <a:pt x="118405" y="59057"/>
                      <a:pt x="118405" y="59057"/>
                      <a:pt x="118405" y="59057"/>
                    </a:cubicBezTo>
                    <a:lnTo>
                      <a:pt x="118405" y="59057"/>
                    </a:lnTo>
                    <a:cubicBezTo>
                      <a:pt x="119800" y="60523"/>
                      <a:pt x="119800" y="62198"/>
                      <a:pt x="119800" y="63664"/>
                    </a:cubicBezTo>
                    <a:close/>
                    <a:moveTo>
                      <a:pt x="108438" y="72460"/>
                    </a:moveTo>
                    <a:lnTo>
                      <a:pt x="108438" y="72460"/>
                    </a:lnTo>
                    <a:cubicBezTo>
                      <a:pt x="108438" y="90261"/>
                      <a:pt x="108438" y="90261"/>
                      <a:pt x="108438" y="90261"/>
                    </a:cubicBezTo>
                    <a:cubicBezTo>
                      <a:pt x="108438" y="99057"/>
                      <a:pt x="108438" y="99057"/>
                      <a:pt x="108438" y="99057"/>
                    </a:cubicBezTo>
                    <a:cubicBezTo>
                      <a:pt x="108438" y="113926"/>
                      <a:pt x="108438" y="113926"/>
                      <a:pt x="108438" y="113926"/>
                    </a:cubicBezTo>
                    <a:cubicBezTo>
                      <a:pt x="108438" y="118324"/>
                      <a:pt x="107043" y="119790"/>
                      <a:pt x="102857" y="119790"/>
                    </a:cubicBezTo>
                    <a:cubicBezTo>
                      <a:pt x="91694" y="119790"/>
                      <a:pt x="91694" y="119790"/>
                      <a:pt x="91694" y="119790"/>
                    </a:cubicBezTo>
                    <a:cubicBezTo>
                      <a:pt x="91694" y="72460"/>
                      <a:pt x="91694" y="72460"/>
                      <a:pt x="91694" y="72460"/>
                    </a:cubicBezTo>
                    <a:cubicBezTo>
                      <a:pt x="69169" y="72460"/>
                      <a:pt x="69169" y="72460"/>
                      <a:pt x="69169" y="72460"/>
                    </a:cubicBezTo>
                    <a:cubicBezTo>
                      <a:pt x="69169" y="119790"/>
                      <a:pt x="69169" y="119790"/>
                      <a:pt x="69169" y="119790"/>
                    </a:cubicBezTo>
                    <a:cubicBezTo>
                      <a:pt x="16943" y="119790"/>
                      <a:pt x="16943" y="119790"/>
                      <a:pt x="16943" y="119790"/>
                    </a:cubicBezTo>
                    <a:cubicBezTo>
                      <a:pt x="14152" y="119790"/>
                      <a:pt x="11362" y="118324"/>
                      <a:pt x="11362" y="113926"/>
                    </a:cubicBezTo>
                    <a:cubicBezTo>
                      <a:pt x="11362" y="99057"/>
                      <a:pt x="11362" y="99057"/>
                      <a:pt x="11362" y="99057"/>
                    </a:cubicBezTo>
                    <a:cubicBezTo>
                      <a:pt x="11362" y="90261"/>
                      <a:pt x="11362" y="90261"/>
                      <a:pt x="11362" y="90261"/>
                    </a:cubicBezTo>
                    <a:cubicBezTo>
                      <a:pt x="11362" y="72460"/>
                      <a:pt x="11362" y="72460"/>
                      <a:pt x="11362" y="72460"/>
                    </a:cubicBezTo>
                    <a:cubicBezTo>
                      <a:pt x="60598" y="22198"/>
                      <a:pt x="60598" y="22198"/>
                      <a:pt x="60598" y="22198"/>
                    </a:cubicBezTo>
                    <a:lnTo>
                      <a:pt x="108438" y="72460"/>
                    </a:lnTo>
                    <a:close/>
                    <a:moveTo>
                      <a:pt x="50830" y="72460"/>
                    </a:moveTo>
                    <a:lnTo>
                      <a:pt x="50830" y="72460"/>
                    </a:lnTo>
                    <a:cubicBezTo>
                      <a:pt x="28305" y="72460"/>
                      <a:pt x="28305" y="72460"/>
                      <a:pt x="28305" y="72460"/>
                    </a:cubicBezTo>
                    <a:cubicBezTo>
                      <a:pt x="28305" y="96125"/>
                      <a:pt x="28305" y="96125"/>
                      <a:pt x="28305" y="96125"/>
                    </a:cubicBezTo>
                    <a:cubicBezTo>
                      <a:pt x="50830" y="96125"/>
                      <a:pt x="50830" y="96125"/>
                      <a:pt x="50830" y="96125"/>
                    </a:cubicBezTo>
                    <a:lnTo>
                      <a:pt x="50830" y="724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4" name="ïs1îḋè"/>
            <p:cNvGrpSpPr/>
            <p:nvPr/>
          </p:nvGrpSpPr>
          <p:grpSpPr>
            <a:xfrm>
              <a:off x="4702731" y="3391659"/>
              <a:ext cx="601404" cy="601404"/>
              <a:chOff x="4910625" y="3770449"/>
              <a:chExt cx="415102" cy="415102"/>
            </a:xfrm>
          </p:grpSpPr>
          <p:sp>
            <p:nvSpPr>
              <p:cNvPr id="30" name="ïśḻíďé"/>
              <p:cNvSpPr/>
              <p:nvPr/>
            </p:nvSpPr>
            <p:spPr>
              <a:xfrm>
                <a:off x="4910625" y="3770449"/>
                <a:ext cx="415102" cy="415102"/>
              </a:xfrm>
              <a:prstGeom prst="ellipse">
                <a:avLst/>
              </a:prstGeom>
              <a:solidFill>
                <a:srgbClr val="C00000"/>
              </a:solidFill>
              <a:ln w="1270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31" name="íşḻîḓê"/>
              <p:cNvSpPr/>
              <p:nvPr/>
            </p:nvSpPr>
            <p:spPr>
              <a:xfrm>
                <a:off x="5031850" y="3902366"/>
                <a:ext cx="172652" cy="15126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7009" y="65310"/>
                    </a:moveTo>
                    <a:lnTo>
                      <a:pt x="117009" y="65310"/>
                    </a:lnTo>
                    <a:lnTo>
                      <a:pt x="117009" y="65310"/>
                    </a:lnTo>
                    <a:cubicBezTo>
                      <a:pt x="61993" y="91073"/>
                      <a:pt x="61993" y="91073"/>
                      <a:pt x="61993" y="91073"/>
                    </a:cubicBezTo>
                    <a:lnTo>
                      <a:pt x="61993" y="91073"/>
                    </a:lnTo>
                    <a:lnTo>
                      <a:pt x="61993" y="91073"/>
                    </a:lnTo>
                    <a:lnTo>
                      <a:pt x="61993" y="91073"/>
                    </a:lnTo>
                    <a:cubicBezTo>
                      <a:pt x="61993" y="92655"/>
                      <a:pt x="60598" y="92655"/>
                      <a:pt x="60598" y="92655"/>
                    </a:cubicBezTo>
                    <a:cubicBezTo>
                      <a:pt x="59202" y="92655"/>
                      <a:pt x="59202" y="92655"/>
                      <a:pt x="57807" y="91073"/>
                    </a:cubicBezTo>
                    <a:lnTo>
                      <a:pt x="57807" y="91073"/>
                    </a:lnTo>
                    <a:lnTo>
                      <a:pt x="57807" y="91073"/>
                    </a:lnTo>
                    <a:lnTo>
                      <a:pt x="57807" y="91073"/>
                    </a:lnTo>
                    <a:cubicBezTo>
                      <a:pt x="2990" y="65310"/>
                      <a:pt x="2990" y="65310"/>
                      <a:pt x="2990" y="65310"/>
                    </a:cubicBezTo>
                    <a:lnTo>
                      <a:pt x="2990" y="65310"/>
                    </a:lnTo>
                    <a:cubicBezTo>
                      <a:pt x="1395" y="65310"/>
                      <a:pt x="0" y="62146"/>
                      <a:pt x="0" y="60564"/>
                    </a:cubicBezTo>
                    <a:cubicBezTo>
                      <a:pt x="0" y="55819"/>
                      <a:pt x="2990" y="54237"/>
                      <a:pt x="5780" y="54237"/>
                    </a:cubicBezTo>
                    <a:cubicBezTo>
                      <a:pt x="7176" y="54237"/>
                      <a:pt x="7176" y="54237"/>
                      <a:pt x="8571" y="54237"/>
                    </a:cubicBezTo>
                    <a:lnTo>
                      <a:pt x="8571" y="54237"/>
                    </a:lnTo>
                    <a:lnTo>
                      <a:pt x="8571" y="54237"/>
                    </a:lnTo>
                    <a:lnTo>
                      <a:pt x="8571" y="54237"/>
                    </a:lnTo>
                    <a:cubicBezTo>
                      <a:pt x="60598" y="78192"/>
                      <a:pt x="60598" y="78192"/>
                      <a:pt x="60598" y="78192"/>
                    </a:cubicBezTo>
                    <a:cubicBezTo>
                      <a:pt x="112823" y="54237"/>
                      <a:pt x="112823" y="54237"/>
                      <a:pt x="112823" y="54237"/>
                    </a:cubicBezTo>
                    <a:lnTo>
                      <a:pt x="112823" y="54237"/>
                    </a:lnTo>
                    <a:lnTo>
                      <a:pt x="112823" y="54237"/>
                    </a:lnTo>
                    <a:lnTo>
                      <a:pt x="112823" y="54237"/>
                    </a:lnTo>
                    <a:lnTo>
                      <a:pt x="114219" y="54237"/>
                    </a:lnTo>
                    <a:cubicBezTo>
                      <a:pt x="118405" y="54237"/>
                      <a:pt x="119800" y="55819"/>
                      <a:pt x="119800" y="60564"/>
                    </a:cubicBezTo>
                    <a:cubicBezTo>
                      <a:pt x="119800" y="62146"/>
                      <a:pt x="118405" y="65310"/>
                      <a:pt x="117009" y="65310"/>
                    </a:cubicBezTo>
                    <a:close/>
                    <a:moveTo>
                      <a:pt x="117009" y="38192"/>
                    </a:moveTo>
                    <a:lnTo>
                      <a:pt x="117009" y="38192"/>
                    </a:lnTo>
                    <a:lnTo>
                      <a:pt x="117009" y="38192"/>
                    </a:lnTo>
                    <a:cubicBezTo>
                      <a:pt x="61993" y="63728"/>
                      <a:pt x="61993" y="63728"/>
                      <a:pt x="61993" y="63728"/>
                    </a:cubicBezTo>
                    <a:lnTo>
                      <a:pt x="61993" y="63728"/>
                    </a:lnTo>
                    <a:lnTo>
                      <a:pt x="61993" y="63728"/>
                    </a:lnTo>
                    <a:lnTo>
                      <a:pt x="61993" y="63728"/>
                    </a:lnTo>
                    <a:lnTo>
                      <a:pt x="60598" y="63728"/>
                    </a:lnTo>
                    <a:cubicBezTo>
                      <a:pt x="59202" y="63728"/>
                      <a:pt x="59202" y="63728"/>
                      <a:pt x="57807" y="63728"/>
                    </a:cubicBezTo>
                    <a:lnTo>
                      <a:pt x="57807" y="63728"/>
                    </a:lnTo>
                    <a:lnTo>
                      <a:pt x="57807" y="63728"/>
                    </a:lnTo>
                    <a:lnTo>
                      <a:pt x="57807" y="63728"/>
                    </a:lnTo>
                    <a:cubicBezTo>
                      <a:pt x="2990" y="38192"/>
                      <a:pt x="2990" y="38192"/>
                      <a:pt x="2990" y="38192"/>
                    </a:cubicBezTo>
                    <a:lnTo>
                      <a:pt x="2990" y="38192"/>
                    </a:lnTo>
                    <a:cubicBezTo>
                      <a:pt x="1395" y="36610"/>
                      <a:pt x="0" y="35028"/>
                      <a:pt x="0" y="31864"/>
                    </a:cubicBezTo>
                    <a:cubicBezTo>
                      <a:pt x="0" y="30282"/>
                      <a:pt x="1395" y="27118"/>
                      <a:pt x="2990" y="27118"/>
                    </a:cubicBezTo>
                    <a:lnTo>
                      <a:pt x="2990" y="27118"/>
                    </a:lnTo>
                    <a:cubicBezTo>
                      <a:pt x="57807" y="1581"/>
                      <a:pt x="57807" y="1581"/>
                      <a:pt x="57807" y="1581"/>
                    </a:cubicBezTo>
                    <a:lnTo>
                      <a:pt x="57807" y="1581"/>
                    </a:lnTo>
                    <a:lnTo>
                      <a:pt x="57807" y="1581"/>
                    </a:lnTo>
                    <a:lnTo>
                      <a:pt x="57807" y="1581"/>
                    </a:lnTo>
                    <a:cubicBezTo>
                      <a:pt x="59202" y="0"/>
                      <a:pt x="59202" y="0"/>
                      <a:pt x="60598" y="0"/>
                    </a:cubicBezTo>
                    <a:cubicBezTo>
                      <a:pt x="60598" y="0"/>
                      <a:pt x="61993" y="0"/>
                      <a:pt x="61993" y="1581"/>
                    </a:cubicBezTo>
                    <a:lnTo>
                      <a:pt x="61993" y="1581"/>
                    </a:lnTo>
                    <a:lnTo>
                      <a:pt x="61993" y="1581"/>
                    </a:lnTo>
                    <a:lnTo>
                      <a:pt x="61993" y="1581"/>
                    </a:lnTo>
                    <a:cubicBezTo>
                      <a:pt x="117009" y="27118"/>
                      <a:pt x="117009" y="27118"/>
                      <a:pt x="117009" y="27118"/>
                    </a:cubicBezTo>
                    <a:lnTo>
                      <a:pt x="117009" y="27118"/>
                    </a:lnTo>
                    <a:cubicBezTo>
                      <a:pt x="118405" y="27118"/>
                      <a:pt x="119800" y="30282"/>
                      <a:pt x="119800" y="31864"/>
                    </a:cubicBezTo>
                    <a:cubicBezTo>
                      <a:pt x="119800" y="35028"/>
                      <a:pt x="118405" y="36610"/>
                      <a:pt x="117009" y="38192"/>
                    </a:cubicBezTo>
                    <a:close/>
                    <a:moveTo>
                      <a:pt x="5780" y="81355"/>
                    </a:moveTo>
                    <a:lnTo>
                      <a:pt x="5780" y="81355"/>
                    </a:lnTo>
                    <a:cubicBezTo>
                      <a:pt x="7176" y="81355"/>
                      <a:pt x="7176" y="81355"/>
                      <a:pt x="8571" y="81355"/>
                    </a:cubicBezTo>
                    <a:lnTo>
                      <a:pt x="8571" y="81355"/>
                    </a:lnTo>
                    <a:lnTo>
                      <a:pt x="8571" y="81355"/>
                    </a:lnTo>
                    <a:lnTo>
                      <a:pt x="8571" y="81355"/>
                    </a:lnTo>
                    <a:cubicBezTo>
                      <a:pt x="60598" y="106892"/>
                      <a:pt x="60598" y="106892"/>
                      <a:pt x="60598" y="106892"/>
                    </a:cubicBezTo>
                    <a:cubicBezTo>
                      <a:pt x="112823" y="81355"/>
                      <a:pt x="112823" y="81355"/>
                      <a:pt x="112823" y="81355"/>
                    </a:cubicBezTo>
                    <a:lnTo>
                      <a:pt x="112823" y="81355"/>
                    </a:lnTo>
                    <a:lnTo>
                      <a:pt x="112823" y="81355"/>
                    </a:lnTo>
                    <a:lnTo>
                      <a:pt x="112823" y="81355"/>
                    </a:lnTo>
                    <a:lnTo>
                      <a:pt x="114219" y="81355"/>
                    </a:lnTo>
                    <a:cubicBezTo>
                      <a:pt x="118405" y="81355"/>
                      <a:pt x="119800" y="84519"/>
                      <a:pt x="119800" y="87683"/>
                    </a:cubicBezTo>
                    <a:cubicBezTo>
                      <a:pt x="119800" y="91073"/>
                      <a:pt x="118405" y="92655"/>
                      <a:pt x="117009" y="94237"/>
                    </a:cubicBezTo>
                    <a:lnTo>
                      <a:pt x="117009" y="94237"/>
                    </a:lnTo>
                    <a:cubicBezTo>
                      <a:pt x="61993" y="119774"/>
                      <a:pt x="61993" y="119774"/>
                      <a:pt x="61993" y="119774"/>
                    </a:cubicBezTo>
                    <a:lnTo>
                      <a:pt x="61993" y="119774"/>
                    </a:lnTo>
                    <a:lnTo>
                      <a:pt x="61993" y="119774"/>
                    </a:lnTo>
                    <a:lnTo>
                      <a:pt x="61993" y="119774"/>
                    </a:lnTo>
                    <a:lnTo>
                      <a:pt x="60598" y="119774"/>
                    </a:lnTo>
                    <a:cubicBezTo>
                      <a:pt x="59202" y="119774"/>
                      <a:pt x="59202" y="119774"/>
                      <a:pt x="57807" y="119774"/>
                    </a:cubicBezTo>
                    <a:lnTo>
                      <a:pt x="57807" y="119774"/>
                    </a:lnTo>
                    <a:lnTo>
                      <a:pt x="57807" y="119774"/>
                    </a:lnTo>
                    <a:lnTo>
                      <a:pt x="57807" y="119774"/>
                    </a:lnTo>
                    <a:cubicBezTo>
                      <a:pt x="2990" y="94237"/>
                      <a:pt x="2990" y="94237"/>
                      <a:pt x="2990" y="94237"/>
                    </a:cubicBezTo>
                    <a:lnTo>
                      <a:pt x="2990" y="94237"/>
                    </a:lnTo>
                    <a:cubicBezTo>
                      <a:pt x="1395" y="92655"/>
                      <a:pt x="0" y="91073"/>
                      <a:pt x="0" y="87683"/>
                    </a:cubicBezTo>
                    <a:cubicBezTo>
                      <a:pt x="0" y="84519"/>
                      <a:pt x="2990" y="81355"/>
                      <a:pt x="5780" y="8135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5" name="íṣḷídé"/>
            <p:cNvGrpSpPr/>
            <p:nvPr/>
          </p:nvGrpSpPr>
          <p:grpSpPr>
            <a:xfrm>
              <a:off x="4702731" y="5160736"/>
              <a:ext cx="601404" cy="601404"/>
              <a:chOff x="4910625" y="5640890"/>
              <a:chExt cx="415102" cy="415102"/>
            </a:xfrm>
          </p:grpSpPr>
          <p:sp>
            <p:nvSpPr>
              <p:cNvPr id="28" name="iś1ïḍê"/>
              <p:cNvSpPr/>
              <p:nvPr/>
            </p:nvSpPr>
            <p:spPr>
              <a:xfrm>
                <a:off x="4910625" y="5640890"/>
                <a:ext cx="415102" cy="415102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9" name="iŝľiḓe"/>
              <p:cNvSpPr/>
              <p:nvPr/>
            </p:nvSpPr>
            <p:spPr>
              <a:xfrm>
                <a:off x="5048232" y="5762723"/>
                <a:ext cx="139886" cy="17143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2868" y="119800"/>
                    </a:moveTo>
                    <a:lnTo>
                      <a:pt x="112868" y="119800"/>
                    </a:lnTo>
                    <a:cubicBezTo>
                      <a:pt x="6885" y="119800"/>
                      <a:pt x="6885" y="119800"/>
                      <a:pt x="6885" y="119800"/>
                    </a:cubicBezTo>
                    <a:cubicBezTo>
                      <a:pt x="1721" y="119800"/>
                      <a:pt x="0" y="117004"/>
                      <a:pt x="0" y="114209"/>
                    </a:cubicBezTo>
                    <a:cubicBezTo>
                      <a:pt x="0" y="64891"/>
                      <a:pt x="0" y="64891"/>
                      <a:pt x="0" y="64891"/>
                    </a:cubicBezTo>
                    <a:cubicBezTo>
                      <a:pt x="0" y="62096"/>
                      <a:pt x="1721" y="59101"/>
                      <a:pt x="6885" y="59101"/>
                    </a:cubicBezTo>
                    <a:cubicBezTo>
                      <a:pt x="17213" y="59101"/>
                      <a:pt x="17213" y="59101"/>
                      <a:pt x="17213" y="59101"/>
                    </a:cubicBezTo>
                    <a:cubicBezTo>
                      <a:pt x="17213" y="33743"/>
                      <a:pt x="17213" y="33743"/>
                      <a:pt x="17213" y="33743"/>
                    </a:cubicBezTo>
                    <a:cubicBezTo>
                      <a:pt x="17213" y="13976"/>
                      <a:pt x="36393" y="0"/>
                      <a:pt x="59016" y="0"/>
                    </a:cubicBezTo>
                    <a:cubicBezTo>
                      <a:pt x="83360" y="0"/>
                      <a:pt x="100573" y="13976"/>
                      <a:pt x="100573" y="33743"/>
                    </a:cubicBezTo>
                    <a:cubicBezTo>
                      <a:pt x="100573" y="36539"/>
                      <a:pt x="98852" y="39534"/>
                      <a:pt x="93688" y="39534"/>
                    </a:cubicBezTo>
                    <a:cubicBezTo>
                      <a:pt x="90245" y="39534"/>
                      <a:pt x="86803" y="36539"/>
                      <a:pt x="86803" y="33743"/>
                    </a:cubicBezTo>
                    <a:cubicBezTo>
                      <a:pt x="86803" y="21164"/>
                      <a:pt x="74754" y="11181"/>
                      <a:pt x="59016" y="11181"/>
                    </a:cubicBezTo>
                    <a:cubicBezTo>
                      <a:pt x="43278" y="11181"/>
                      <a:pt x="31229" y="21164"/>
                      <a:pt x="31229" y="33743"/>
                    </a:cubicBezTo>
                    <a:cubicBezTo>
                      <a:pt x="31229" y="59101"/>
                      <a:pt x="31229" y="59101"/>
                      <a:pt x="31229" y="59101"/>
                    </a:cubicBezTo>
                    <a:cubicBezTo>
                      <a:pt x="86803" y="59101"/>
                      <a:pt x="86803" y="59101"/>
                      <a:pt x="86803" y="59101"/>
                    </a:cubicBezTo>
                    <a:cubicBezTo>
                      <a:pt x="100573" y="59101"/>
                      <a:pt x="100573" y="59101"/>
                      <a:pt x="100573" y="59101"/>
                    </a:cubicBezTo>
                    <a:cubicBezTo>
                      <a:pt x="112868" y="59101"/>
                      <a:pt x="112868" y="59101"/>
                      <a:pt x="112868" y="59101"/>
                    </a:cubicBezTo>
                    <a:cubicBezTo>
                      <a:pt x="116311" y="59101"/>
                      <a:pt x="119754" y="62096"/>
                      <a:pt x="119754" y="64891"/>
                    </a:cubicBezTo>
                    <a:cubicBezTo>
                      <a:pt x="119754" y="114209"/>
                      <a:pt x="119754" y="114209"/>
                      <a:pt x="119754" y="114209"/>
                    </a:cubicBezTo>
                    <a:cubicBezTo>
                      <a:pt x="119754" y="117004"/>
                      <a:pt x="116311" y="119800"/>
                      <a:pt x="112868" y="119800"/>
                    </a:cubicBezTo>
                    <a:close/>
                    <a:moveTo>
                      <a:pt x="59016" y="70482"/>
                    </a:moveTo>
                    <a:lnTo>
                      <a:pt x="59016" y="70482"/>
                    </a:lnTo>
                    <a:cubicBezTo>
                      <a:pt x="52131" y="70482"/>
                      <a:pt x="45000" y="76073"/>
                      <a:pt x="45000" y="81863"/>
                    </a:cubicBezTo>
                    <a:cubicBezTo>
                      <a:pt x="45000" y="86056"/>
                      <a:pt x="48688" y="90249"/>
                      <a:pt x="52131" y="91647"/>
                    </a:cubicBezTo>
                    <a:cubicBezTo>
                      <a:pt x="52131" y="103028"/>
                      <a:pt x="52131" y="103028"/>
                      <a:pt x="52131" y="103028"/>
                    </a:cubicBezTo>
                    <a:cubicBezTo>
                      <a:pt x="52131" y="105823"/>
                      <a:pt x="55573" y="108618"/>
                      <a:pt x="59016" y="108618"/>
                    </a:cubicBezTo>
                    <a:cubicBezTo>
                      <a:pt x="64180" y="108618"/>
                      <a:pt x="65901" y="105823"/>
                      <a:pt x="65901" y="103028"/>
                    </a:cubicBezTo>
                    <a:cubicBezTo>
                      <a:pt x="65901" y="91647"/>
                      <a:pt x="65901" y="91647"/>
                      <a:pt x="65901" y="91647"/>
                    </a:cubicBezTo>
                    <a:cubicBezTo>
                      <a:pt x="71065" y="90249"/>
                      <a:pt x="72786" y="86056"/>
                      <a:pt x="72786" y="81863"/>
                    </a:cubicBezTo>
                    <a:cubicBezTo>
                      <a:pt x="72786" y="76073"/>
                      <a:pt x="67622" y="70482"/>
                      <a:pt x="59016" y="704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</p:grpSp>
        <p:sp>
          <p:nvSpPr>
            <p:cNvPr id="16" name="îṩḷïḑe"/>
            <p:cNvSpPr/>
            <p:nvPr/>
          </p:nvSpPr>
          <p:spPr>
            <a:xfrm rot="5400000">
              <a:off x="6732725" y="1855963"/>
              <a:ext cx="693175" cy="584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7" name="íšľiďè"/>
            <p:cNvSpPr/>
            <p:nvPr/>
          </p:nvSpPr>
          <p:spPr>
            <a:xfrm rot="5400000">
              <a:off x="6732725" y="3663142"/>
              <a:ext cx="693175" cy="584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8" name="ïṣ1iḓé"/>
            <p:cNvSpPr/>
            <p:nvPr/>
          </p:nvSpPr>
          <p:spPr>
            <a:xfrm rot="5400000">
              <a:off x="6732725" y="5432219"/>
              <a:ext cx="693175" cy="584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grpSp>
          <p:nvGrpSpPr>
            <p:cNvPr id="19" name="îṡľidê"/>
            <p:cNvGrpSpPr/>
            <p:nvPr/>
          </p:nvGrpSpPr>
          <p:grpSpPr>
            <a:xfrm>
              <a:off x="7413969" y="1317769"/>
              <a:ext cx="4104931" cy="1134827"/>
              <a:chOff x="7415557" y="1324666"/>
              <a:chExt cx="4104931" cy="1134827"/>
            </a:xfrm>
          </p:grpSpPr>
          <p:sp>
            <p:nvSpPr>
              <p:cNvPr id="26" name="íŝ1íḓê"/>
              <p:cNvSpPr/>
              <p:nvPr/>
            </p:nvSpPr>
            <p:spPr bwMode="auto">
              <a:xfrm>
                <a:off x="7415557" y="1766471"/>
                <a:ext cx="4104929" cy="6930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solidFill>
                      <a:schemeClr val="bg1"/>
                    </a:solidFill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7" name="iṩḻïďé"/>
              <p:cNvSpPr txBox="1"/>
              <p:nvPr/>
            </p:nvSpPr>
            <p:spPr bwMode="auto">
              <a:xfrm>
                <a:off x="7415557" y="1324666"/>
                <a:ext cx="4104931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rPr>
                  <a:t>输入文本，简单说明即可</a:t>
                </a:r>
                <a:endParaRPr lang="en-US" altLang="zh-CN" sz="2000" b="1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20" name="ïšḻîḓè"/>
            <p:cNvGrpSpPr/>
            <p:nvPr/>
          </p:nvGrpSpPr>
          <p:grpSpPr>
            <a:xfrm>
              <a:off x="7413969" y="3124948"/>
              <a:ext cx="4104931" cy="1134827"/>
              <a:chOff x="7415557" y="1324666"/>
              <a:chExt cx="4104931" cy="1134827"/>
            </a:xfrm>
          </p:grpSpPr>
          <p:sp>
            <p:nvSpPr>
              <p:cNvPr id="24" name="îŝļîḑé"/>
              <p:cNvSpPr/>
              <p:nvPr/>
            </p:nvSpPr>
            <p:spPr bwMode="auto">
              <a:xfrm>
                <a:off x="7415557" y="1766471"/>
                <a:ext cx="4104929" cy="6930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solidFill>
                      <a:schemeClr val="bg1"/>
                    </a:solidFill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25" name="ïṩľîdê"/>
              <p:cNvSpPr txBox="1"/>
              <p:nvPr/>
            </p:nvSpPr>
            <p:spPr bwMode="auto">
              <a:xfrm>
                <a:off x="7415557" y="1324666"/>
                <a:ext cx="4104931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rPr>
                  <a:t>输入文本，简单说明即可</a:t>
                </a:r>
                <a:endParaRPr lang="en-US" altLang="zh-CN" sz="2000" b="1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21" name="ïsļíḍè"/>
            <p:cNvGrpSpPr/>
            <p:nvPr/>
          </p:nvGrpSpPr>
          <p:grpSpPr>
            <a:xfrm>
              <a:off x="7413969" y="4894025"/>
              <a:ext cx="4104931" cy="1134827"/>
              <a:chOff x="7415557" y="1324666"/>
              <a:chExt cx="4104931" cy="1134827"/>
            </a:xfrm>
          </p:grpSpPr>
          <p:sp>
            <p:nvSpPr>
              <p:cNvPr id="22" name="íşľîďê"/>
              <p:cNvSpPr/>
              <p:nvPr/>
            </p:nvSpPr>
            <p:spPr bwMode="auto">
              <a:xfrm>
                <a:off x="7415557" y="1766471"/>
                <a:ext cx="4104929" cy="6930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solidFill>
                      <a:schemeClr val="bg1"/>
                    </a:solidFill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23" name="ïSḻïḓê"/>
              <p:cNvSpPr txBox="1"/>
              <p:nvPr/>
            </p:nvSpPr>
            <p:spPr bwMode="auto">
              <a:xfrm>
                <a:off x="7415557" y="1324666"/>
                <a:ext cx="4104931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rPr>
                  <a:t>输入文本，简单说明即可</a:t>
                </a:r>
                <a:endParaRPr lang="en-US" altLang="zh-CN" sz="2000" b="1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</p:grpSp>
      </p:grpSp>
      <p:sp>
        <p:nvSpPr>
          <p:cNvPr id="36" name="标题 1"/>
          <p:cNvSpPr txBox="1"/>
          <p:nvPr/>
        </p:nvSpPr>
        <p:spPr>
          <a:xfrm>
            <a:off x="669925" y="403129"/>
            <a:ext cx="2154289" cy="579119"/>
          </a:xfrm>
          <a:prstGeom prst="rect">
            <a:avLst/>
          </a:prstGeom>
          <a:solidFill>
            <a:srgbClr val="C0000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dist"/>
            <a:r>
              <a:rPr lang="zh-CN" altLang="en-US" dirty="0">
                <a:solidFill>
                  <a:schemeClr val="bg1"/>
                </a:solidFill>
                <a:ea typeface="阿里巴巴普惠体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94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18964" y="1435768"/>
            <a:ext cx="10736964" cy="4326793"/>
            <a:chOff x="718964" y="1435768"/>
            <a:chExt cx="10736964" cy="4326793"/>
          </a:xfrm>
        </p:grpSpPr>
        <p:sp>
          <p:nvSpPr>
            <p:cNvPr id="6" name="ï$ľïde"/>
            <p:cNvSpPr/>
            <p:nvPr/>
          </p:nvSpPr>
          <p:spPr>
            <a:xfrm>
              <a:off x="718964" y="1927672"/>
              <a:ext cx="3452220" cy="14748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4400" b="1" dirty="0">
                  <a:ea typeface="阿里巴巴普惠体" panose="00020600040101010101" pitchFamily="18" charset="-122"/>
                </a:rPr>
                <a:t>30%</a:t>
              </a:r>
              <a:endParaRPr sz="44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7" name="íśḷiḓê"/>
            <p:cNvSpPr/>
            <p:nvPr/>
          </p:nvSpPr>
          <p:spPr>
            <a:xfrm>
              <a:off x="718964" y="1556792"/>
              <a:ext cx="3452220" cy="39313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2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8" name="íṥḷîďe"/>
            <p:cNvSpPr/>
            <p:nvPr/>
          </p:nvSpPr>
          <p:spPr>
            <a:xfrm>
              <a:off x="718964" y="5215179"/>
              <a:ext cx="3452220" cy="4691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sz="2000" b="1" dirty="0">
                  <a:ea typeface="阿里巴巴普惠体" panose="00020600040101010101" pitchFamily="18" charset="-122"/>
                </a:rPr>
                <a:t>输入文本</a:t>
              </a:r>
            </a:p>
          </p:txBody>
        </p:sp>
        <p:sp>
          <p:nvSpPr>
            <p:cNvPr id="9" name="íṥḻïḓè"/>
            <p:cNvSpPr/>
            <p:nvPr/>
          </p:nvSpPr>
          <p:spPr>
            <a:xfrm>
              <a:off x="4361048" y="1927671"/>
              <a:ext cx="3452220" cy="1474869"/>
            </a:xfrm>
            <a:prstGeom prst="rect">
              <a:avLst/>
            </a:prstGeom>
            <a:solidFill>
              <a:srgbClr val="C000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4800" b="1" dirty="0">
                  <a:ea typeface="阿里巴巴普惠体" panose="00020600040101010101" pitchFamily="18" charset="-122"/>
                </a:rPr>
                <a:t>50%</a:t>
              </a:r>
              <a:endParaRPr sz="48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0" name="ïṣ1ïďê"/>
            <p:cNvSpPr/>
            <p:nvPr/>
          </p:nvSpPr>
          <p:spPr>
            <a:xfrm>
              <a:off x="4361048" y="1435768"/>
              <a:ext cx="3452220" cy="514161"/>
            </a:xfrm>
            <a:prstGeom prst="rect">
              <a:avLst/>
            </a:prstGeom>
            <a:solidFill>
              <a:schemeClr val="accent3">
                <a:lumMod val="60000"/>
                <a:lumOff val="40000"/>
                <a:alpha val="2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1" name="íṧlîḓé"/>
            <p:cNvSpPr/>
            <p:nvPr/>
          </p:nvSpPr>
          <p:spPr>
            <a:xfrm>
              <a:off x="4361047" y="5194866"/>
              <a:ext cx="3452221" cy="567695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sz="2000" b="1" dirty="0">
                  <a:ea typeface="阿里巴巴普惠体" panose="00020600040101010101" pitchFamily="18" charset="-122"/>
                </a:rPr>
                <a:t>输入文本</a:t>
              </a:r>
            </a:p>
          </p:txBody>
        </p:sp>
        <p:sp>
          <p:nvSpPr>
            <p:cNvPr id="12" name="ïšľíḓê"/>
            <p:cNvSpPr/>
            <p:nvPr/>
          </p:nvSpPr>
          <p:spPr>
            <a:xfrm>
              <a:off x="8003708" y="1927672"/>
              <a:ext cx="3452220" cy="14748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4400" b="1" dirty="0">
                  <a:ea typeface="阿里巴巴普惠体" panose="00020600040101010101" pitchFamily="18" charset="-122"/>
                </a:rPr>
                <a:t>30%</a:t>
              </a:r>
              <a:endParaRPr sz="44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3" name="iSļíḑê"/>
            <p:cNvSpPr/>
            <p:nvPr/>
          </p:nvSpPr>
          <p:spPr>
            <a:xfrm>
              <a:off x="8003708" y="1556793"/>
              <a:ext cx="3452220" cy="393135"/>
            </a:xfrm>
            <a:prstGeom prst="rect">
              <a:avLst/>
            </a:prstGeom>
            <a:solidFill>
              <a:schemeClr val="tx1">
                <a:lumMod val="50000"/>
                <a:lumOff val="50000"/>
                <a:alpha val="2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4" name="iSļiďé"/>
            <p:cNvSpPr/>
            <p:nvPr/>
          </p:nvSpPr>
          <p:spPr>
            <a:xfrm>
              <a:off x="8003708" y="5215179"/>
              <a:ext cx="3452220" cy="46916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zh-CN" altLang="en-US" sz="2000" b="1" dirty="0">
                  <a:ea typeface="阿里巴巴普惠体" panose="00020600040101010101" pitchFamily="18" charset="-122"/>
                </a:rPr>
                <a:t>输入文本</a:t>
              </a:r>
            </a:p>
          </p:txBody>
        </p:sp>
        <p:grpSp>
          <p:nvGrpSpPr>
            <p:cNvPr id="15" name="iŝḻïḋe"/>
            <p:cNvGrpSpPr/>
            <p:nvPr/>
          </p:nvGrpSpPr>
          <p:grpSpPr>
            <a:xfrm>
              <a:off x="1124888" y="3586638"/>
              <a:ext cx="2640372" cy="1444441"/>
              <a:chOff x="1124888" y="3599654"/>
              <a:chExt cx="2640372" cy="1444441"/>
            </a:xfrm>
          </p:grpSpPr>
          <p:sp>
            <p:nvSpPr>
              <p:cNvPr id="22" name="ísļiďè"/>
              <p:cNvSpPr txBox="1"/>
              <p:nvPr/>
            </p:nvSpPr>
            <p:spPr>
              <a:xfrm>
                <a:off x="1124889" y="3993043"/>
                <a:ext cx="2640371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ea typeface="阿里巴巴普惠体" panose="00020600040101010101" pitchFamily="18" charset="-122"/>
                  </a:rPr>
                  <a:t>……</a:t>
                </a:r>
              </a:p>
            </p:txBody>
          </p:sp>
          <p:sp>
            <p:nvSpPr>
              <p:cNvPr id="23" name="iṥlïḑê"/>
              <p:cNvSpPr txBox="1"/>
              <p:nvPr/>
            </p:nvSpPr>
            <p:spPr>
              <a:xfrm>
                <a:off x="1124888" y="3599654"/>
                <a:ext cx="2640372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/>
                <a:r>
                  <a:rPr lang="zh-CN" altLang="en-US" b="1" dirty="0">
                    <a:ea typeface="阿里巴巴普惠体" panose="00020600040101010101" pitchFamily="18" charset="-122"/>
                  </a:rPr>
                  <a:t>添加标题内容</a:t>
                </a:r>
              </a:p>
            </p:txBody>
          </p:sp>
        </p:grpSp>
        <p:grpSp>
          <p:nvGrpSpPr>
            <p:cNvPr id="16" name="íśľïďê"/>
            <p:cNvGrpSpPr/>
            <p:nvPr/>
          </p:nvGrpSpPr>
          <p:grpSpPr>
            <a:xfrm>
              <a:off x="4766971" y="3586638"/>
              <a:ext cx="2640372" cy="1444441"/>
              <a:chOff x="1124888" y="3599654"/>
              <a:chExt cx="2640372" cy="1444441"/>
            </a:xfrm>
          </p:grpSpPr>
          <p:sp>
            <p:nvSpPr>
              <p:cNvPr id="20" name="îṣḷiḓe"/>
              <p:cNvSpPr txBox="1"/>
              <p:nvPr/>
            </p:nvSpPr>
            <p:spPr>
              <a:xfrm>
                <a:off x="1124889" y="3993043"/>
                <a:ext cx="2640371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ea typeface="阿里巴巴普惠体" panose="00020600040101010101" pitchFamily="18" charset="-122"/>
                  </a:rPr>
                  <a:t>……</a:t>
                </a:r>
              </a:p>
            </p:txBody>
          </p:sp>
          <p:sp>
            <p:nvSpPr>
              <p:cNvPr id="21" name="îšḻiḑé"/>
              <p:cNvSpPr txBox="1"/>
              <p:nvPr/>
            </p:nvSpPr>
            <p:spPr>
              <a:xfrm>
                <a:off x="1124888" y="3599654"/>
                <a:ext cx="2640372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/>
                <a:r>
                  <a:rPr lang="zh-CN" altLang="en-US" b="1" dirty="0">
                    <a:ea typeface="阿里巴巴普惠体" panose="00020600040101010101" pitchFamily="18" charset="-122"/>
                  </a:rPr>
                  <a:t>添加标题内容</a:t>
                </a:r>
              </a:p>
            </p:txBody>
          </p:sp>
        </p:grpSp>
        <p:grpSp>
          <p:nvGrpSpPr>
            <p:cNvPr id="17" name="islîḑe"/>
            <p:cNvGrpSpPr/>
            <p:nvPr/>
          </p:nvGrpSpPr>
          <p:grpSpPr>
            <a:xfrm>
              <a:off x="8409632" y="3586638"/>
              <a:ext cx="2640372" cy="1444441"/>
              <a:chOff x="1124888" y="3599654"/>
              <a:chExt cx="2640372" cy="1444441"/>
            </a:xfrm>
          </p:grpSpPr>
          <p:sp>
            <p:nvSpPr>
              <p:cNvPr id="18" name="îṡḻiḑê"/>
              <p:cNvSpPr txBox="1"/>
              <p:nvPr/>
            </p:nvSpPr>
            <p:spPr>
              <a:xfrm>
                <a:off x="1124889" y="3993043"/>
                <a:ext cx="2640371" cy="105105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>
                    <a:ea typeface="阿里巴巴普惠体" panose="00020600040101010101" pitchFamily="18" charset="-122"/>
                  </a:rPr>
                  <a:t>……</a:t>
                </a:r>
              </a:p>
            </p:txBody>
          </p:sp>
          <p:sp>
            <p:nvSpPr>
              <p:cNvPr id="19" name="íśḻîḋé"/>
              <p:cNvSpPr txBox="1"/>
              <p:nvPr/>
            </p:nvSpPr>
            <p:spPr>
              <a:xfrm>
                <a:off x="1124888" y="3599654"/>
                <a:ext cx="2640372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pPr algn="ctr"/>
                <a:r>
                  <a:rPr lang="zh-CN" altLang="en-US" b="1" dirty="0">
                    <a:ea typeface="阿里巴巴普惠体" panose="00020600040101010101" pitchFamily="18" charset="-122"/>
                  </a:rPr>
                  <a:t>添加标题内容</a:t>
                </a:r>
              </a:p>
            </p:txBody>
          </p:sp>
        </p:grpSp>
      </p:grpSp>
      <p:sp>
        <p:nvSpPr>
          <p:cNvPr id="24" name="标题 1"/>
          <p:cNvSpPr txBox="1"/>
          <p:nvPr/>
        </p:nvSpPr>
        <p:spPr>
          <a:xfrm>
            <a:off x="669925" y="403129"/>
            <a:ext cx="2154289" cy="579119"/>
          </a:xfrm>
          <a:prstGeom prst="rect">
            <a:avLst/>
          </a:prstGeom>
          <a:solidFill>
            <a:srgbClr val="C0000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dist"/>
            <a:r>
              <a:rPr lang="zh-CN" altLang="en-US" dirty="0">
                <a:solidFill>
                  <a:schemeClr val="bg1"/>
                </a:solidFill>
                <a:ea typeface="阿里巴巴普惠体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423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527519"/>
            <a:ext cx="10858501" cy="4228452"/>
            <a:chOff x="660400" y="1527519"/>
            <a:chExt cx="10858501" cy="4228452"/>
          </a:xfrm>
        </p:grpSpPr>
        <p:sp>
          <p:nvSpPr>
            <p:cNvPr id="6" name="îṡļïḍè"/>
            <p:cNvSpPr/>
            <p:nvPr/>
          </p:nvSpPr>
          <p:spPr>
            <a:xfrm rot="3600000">
              <a:off x="5660383" y="2308243"/>
              <a:ext cx="731893" cy="561107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7" name="îSḻíḓè"/>
            <p:cNvSpPr/>
            <p:nvPr/>
          </p:nvSpPr>
          <p:spPr>
            <a:xfrm>
              <a:off x="6385257" y="2459263"/>
              <a:ext cx="701343" cy="561107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8" name="ïšľiďe"/>
            <p:cNvSpPr/>
            <p:nvPr/>
          </p:nvSpPr>
          <p:spPr>
            <a:xfrm>
              <a:off x="6034045" y="1527519"/>
              <a:ext cx="1414445" cy="1223661"/>
            </a:xfrm>
            <a:custGeom>
              <a:avLst/>
              <a:gdLst>
                <a:gd name="connsiteX0" fmla="*/ 0 w 1045063"/>
                <a:gd name="connsiteY0" fmla="*/ 452051 h 904102"/>
                <a:gd name="connsiteX1" fmla="*/ 258302 w 1045063"/>
                <a:gd name="connsiteY1" fmla="*/ 0 h 904102"/>
                <a:gd name="connsiteX2" fmla="*/ 786761 w 1045063"/>
                <a:gd name="connsiteY2" fmla="*/ 0 h 904102"/>
                <a:gd name="connsiteX3" fmla="*/ 1045063 w 1045063"/>
                <a:gd name="connsiteY3" fmla="*/ 452051 h 904102"/>
                <a:gd name="connsiteX4" fmla="*/ 786761 w 1045063"/>
                <a:gd name="connsiteY4" fmla="*/ 904102 h 904102"/>
                <a:gd name="connsiteX5" fmla="*/ 258302 w 1045063"/>
                <a:gd name="connsiteY5" fmla="*/ 904102 h 904102"/>
                <a:gd name="connsiteX6" fmla="*/ 0 w 1045063"/>
                <a:gd name="connsiteY6" fmla="*/ 452051 h 90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63" h="904102">
                  <a:moveTo>
                    <a:pt x="0" y="452051"/>
                  </a:moveTo>
                  <a:lnTo>
                    <a:pt x="258302" y="0"/>
                  </a:lnTo>
                  <a:lnTo>
                    <a:pt x="786761" y="0"/>
                  </a:lnTo>
                  <a:lnTo>
                    <a:pt x="1045063" y="452051"/>
                  </a:lnTo>
                  <a:lnTo>
                    <a:pt x="786761" y="904102"/>
                  </a:lnTo>
                  <a:lnTo>
                    <a:pt x="258302" y="904102"/>
                  </a:lnTo>
                  <a:lnTo>
                    <a:pt x="0" y="45205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9" name="iŝļîḑè"/>
            <p:cNvSpPr/>
            <p:nvPr/>
          </p:nvSpPr>
          <p:spPr>
            <a:xfrm>
              <a:off x="5878267" y="4527110"/>
              <a:ext cx="651215" cy="561107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0" name="išļiďè"/>
            <p:cNvSpPr/>
            <p:nvPr/>
          </p:nvSpPr>
          <p:spPr>
            <a:xfrm>
              <a:off x="6034045" y="4513220"/>
              <a:ext cx="1414445" cy="1223661"/>
            </a:xfrm>
            <a:custGeom>
              <a:avLst/>
              <a:gdLst>
                <a:gd name="connsiteX0" fmla="*/ 0 w 1045063"/>
                <a:gd name="connsiteY0" fmla="*/ 452051 h 904102"/>
                <a:gd name="connsiteX1" fmla="*/ 258302 w 1045063"/>
                <a:gd name="connsiteY1" fmla="*/ 0 h 904102"/>
                <a:gd name="connsiteX2" fmla="*/ 786761 w 1045063"/>
                <a:gd name="connsiteY2" fmla="*/ 0 h 904102"/>
                <a:gd name="connsiteX3" fmla="*/ 1045063 w 1045063"/>
                <a:gd name="connsiteY3" fmla="*/ 452051 h 904102"/>
                <a:gd name="connsiteX4" fmla="*/ 786761 w 1045063"/>
                <a:gd name="connsiteY4" fmla="*/ 904102 h 904102"/>
                <a:gd name="connsiteX5" fmla="*/ 258302 w 1045063"/>
                <a:gd name="connsiteY5" fmla="*/ 904102 h 904102"/>
                <a:gd name="connsiteX6" fmla="*/ 0 w 1045063"/>
                <a:gd name="connsiteY6" fmla="*/ 452051 h 90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63" h="904102">
                  <a:moveTo>
                    <a:pt x="0" y="452051"/>
                  </a:moveTo>
                  <a:lnTo>
                    <a:pt x="258302" y="0"/>
                  </a:lnTo>
                  <a:lnTo>
                    <a:pt x="786761" y="0"/>
                  </a:lnTo>
                  <a:lnTo>
                    <a:pt x="1045063" y="452051"/>
                  </a:lnTo>
                  <a:lnTo>
                    <a:pt x="786761" y="904102"/>
                  </a:lnTo>
                  <a:lnTo>
                    <a:pt x="258302" y="904102"/>
                  </a:lnTo>
                  <a:lnTo>
                    <a:pt x="0" y="45205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1" name="îṣḷïďê"/>
            <p:cNvSpPr/>
            <p:nvPr/>
          </p:nvSpPr>
          <p:spPr>
            <a:xfrm>
              <a:off x="5105801" y="3478558"/>
              <a:ext cx="651215" cy="561107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2" name="iślíḍe"/>
            <p:cNvSpPr/>
            <p:nvPr/>
          </p:nvSpPr>
          <p:spPr>
            <a:xfrm>
              <a:off x="4730811" y="3760586"/>
              <a:ext cx="1414445" cy="1223661"/>
            </a:xfrm>
            <a:custGeom>
              <a:avLst/>
              <a:gdLst>
                <a:gd name="connsiteX0" fmla="*/ 0 w 1045063"/>
                <a:gd name="connsiteY0" fmla="*/ 452051 h 904102"/>
                <a:gd name="connsiteX1" fmla="*/ 258302 w 1045063"/>
                <a:gd name="connsiteY1" fmla="*/ 0 h 904102"/>
                <a:gd name="connsiteX2" fmla="*/ 786761 w 1045063"/>
                <a:gd name="connsiteY2" fmla="*/ 0 h 904102"/>
                <a:gd name="connsiteX3" fmla="*/ 1045063 w 1045063"/>
                <a:gd name="connsiteY3" fmla="*/ 452051 h 904102"/>
                <a:gd name="connsiteX4" fmla="*/ 786761 w 1045063"/>
                <a:gd name="connsiteY4" fmla="*/ 904102 h 904102"/>
                <a:gd name="connsiteX5" fmla="*/ 258302 w 1045063"/>
                <a:gd name="connsiteY5" fmla="*/ 904102 h 904102"/>
                <a:gd name="connsiteX6" fmla="*/ 0 w 1045063"/>
                <a:gd name="connsiteY6" fmla="*/ 452051 h 90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63" h="904102">
                  <a:moveTo>
                    <a:pt x="0" y="452051"/>
                  </a:moveTo>
                  <a:lnTo>
                    <a:pt x="258302" y="0"/>
                  </a:lnTo>
                  <a:lnTo>
                    <a:pt x="786761" y="0"/>
                  </a:lnTo>
                  <a:lnTo>
                    <a:pt x="1045063" y="452051"/>
                  </a:lnTo>
                  <a:lnTo>
                    <a:pt x="786761" y="904102"/>
                  </a:lnTo>
                  <a:lnTo>
                    <a:pt x="258302" y="904102"/>
                  </a:lnTo>
                  <a:lnTo>
                    <a:pt x="0" y="45205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3" name="isļiḓê"/>
            <p:cNvSpPr/>
            <p:nvPr/>
          </p:nvSpPr>
          <p:spPr>
            <a:xfrm>
              <a:off x="4730811" y="2278469"/>
              <a:ext cx="1414445" cy="1223661"/>
            </a:xfrm>
            <a:custGeom>
              <a:avLst/>
              <a:gdLst>
                <a:gd name="connsiteX0" fmla="*/ 0 w 1045063"/>
                <a:gd name="connsiteY0" fmla="*/ 452051 h 904102"/>
                <a:gd name="connsiteX1" fmla="*/ 258302 w 1045063"/>
                <a:gd name="connsiteY1" fmla="*/ 0 h 904102"/>
                <a:gd name="connsiteX2" fmla="*/ 786761 w 1045063"/>
                <a:gd name="connsiteY2" fmla="*/ 0 h 904102"/>
                <a:gd name="connsiteX3" fmla="*/ 1045063 w 1045063"/>
                <a:gd name="connsiteY3" fmla="*/ 452051 h 904102"/>
                <a:gd name="connsiteX4" fmla="*/ 786761 w 1045063"/>
                <a:gd name="connsiteY4" fmla="*/ 904102 h 904102"/>
                <a:gd name="connsiteX5" fmla="*/ 258302 w 1045063"/>
                <a:gd name="connsiteY5" fmla="*/ 904102 h 904102"/>
                <a:gd name="connsiteX6" fmla="*/ 0 w 1045063"/>
                <a:gd name="connsiteY6" fmla="*/ 452051 h 90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63" h="904102">
                  <a:moveTo>
                    <a:pt x="0" y="452051"/>
                  </a:moveTo>
                  <a:lnTo>
                    <a:pt x="258302" y="0"/>
                  </a:lnTo>
                  <a:lnTo>
                    <a:pt x="786761" y="0"/>
                  </a:lnTo>
                  <a:lnTo>
                    <a:pt x="1045063" y="452051"/>
                  </a:lnTo>
                  <a:lnTo>
                    <a:pt x="786761" y="904102"/>
                  </a:lnTo>
                  <a:lnTo>
                    <a:pt x="258302" y="904102"/>
                  </a:lnTo>
                  <a:lnTo>
                    <a:pt x="0" y="45205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4" name="îSliḑê"/>
            <p:cNvSpPr/>
            <p:nvPr/>
          </p:nvSpPr>
          <p:spPr>
            <a:xfrm>
              <a:off x="6034045" y="2990693"/>
              <a:ext cx="1414445" cy="1223661"/>
            </a:xfrm>
            <a:custGeom>
              <a:avLst/>
              <a:gdLst>
                <a:gd name="connsiteX0" fmla="*/ 0 w 1045063"/>
                <a:gd name="connsiteY0" fmla="*/ 452051 h 904102"/>
                <a:gd name="connsiteX1" fmla="*/ 258302 w 1045063"/>
                <a:gd name="connsiteY1" fmla="*/ 0 h 904102"/>
                <a:gd name="connsiteX2" fmla="*/ 786761 w 1045063"/>
                <a:gd name="connsiteY2" fmla="*/ 0 h 904102"/>
                <a:gd name="connsiteX3" fmla="*/ 1045063 w 1045063"/>
                <a:gd name="connsiteY3" fmla="*/ 452051 h 904102"/>
                <a:gd name="connsiteX4" fmla="*/ 786761 w 1045063"/>
                <a:gd name="connsiteY4" fmla="*/ 904102 h 904102"/>
                <a:gd name="connsiteX5" fmla="*/ 258302 w 1045063"/>
                <a:gd name="connsiteY5" fmla="*/ 904102 h 904102"/>
                <a:gd name="connsiteX6" fmla="*/ 0 w 1045063"/>
                <a:gd name="connsiteY6" fmla="*/ 452051 h 90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63" h="904102">
                  <a:moveTo>
                    <a:pt x="0" y="452051"/>
                  </a:moveTo>
                  <a:lnTo>
                    <a:pt x="258302" y="0"/>
                  </a:lnTo>
                  <a:lnTo>
                    <a:pt x="786761" y="0"/>
                  </a:lnTo>
                  <a:lnTo>
                    <a:pt x="1045063" y="452051"/>
                  </a:lnTo>
                  <a:lnTo>
                    <a:pt x="786761" y="904102"/>
                  </a:lnTo>
                  <a:lnTo>
                    <a:pt x="258302" y="904102"/>
                  </a:lnTo>
                  <a:lnTo>
                    <a:pt x="0" y="45205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dirty="0">
                <a:ea typeface="阿里巴巴普惠体" panose="00020600040101010101" pitchFamily="18" charset="-122"/>
              </a:endParaRPr>
            </a:p>
          </p:txBody>
        </p:sp>
        <p:grpSp>
          <p:nvGrpSpPr>
            <p:cNvPr id="15" name="íṧ1iḍê"/>
            <p:cNvGrpSpPr/>
            <p:nvPr/>
          </p:nvGrpSpPr>
          <p:grpSpPr>
            <a:xfrm>
              <a:off x="7742948" y="1527519"/>
              <a:ext cx="3775953" cy="1242751"/>
              <a:chOff x="7742947" y="3417921"/>
              <a:chExt cx="3775953" cy="1242751"/>
            </a:xfrm>
          </p:grpSpPr>
          <p:sp>
            <p:nvSpPr>
              <p:cNvPr id="33" name="íşḷíḑé"/>
              <p:cNvSpPr/>
              <p:nvPr/>
            </p:nvSpPr>
            <p:spPr bwMode="auto">
              <a:xfrm>
                <a:off x="7742947" y="3859726"/>
                <a:ext cx="3775951" cy="8009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34" name="ïṩ1íḓe"/>
              <p:cNvSpPr txBox="1"/>
              <p:nvPr/>
            </p:nvSpPr>
            <p:spPr bwMode="auto">
              <a:xfrm>
                <a:off x="7742947" y="3417921"/>
                <a:ext cx="3775953" cy="441805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sz="2000" b="1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6" name="ïŝļiḓé"/>
            <p:cNvGrpSpPr/>
            <p:nvPr/>
          </p:nvGrpSpPr>
          <p:grpSpPr>
            <a:xfrm>
              <a:off x="7742948" y="3020370"/>
              <a:ext cx="3775953" cy="1242751"/>
              <a:chOff x="7742947" y="3417921"/>
              <a:chExt cx="3775953" cy="1242751"/>
            </a:xfrm>
          </p:grpSpPr>
          <p:sp>
            <p:nvSpPr>
              <p:cNvPr id="31" name="îSḻîdé"/>
              <p:cNvSpPr/>
              <p:nvPr/>
            </p:nvSpPr>
            <p:spPr bwMode="auto">
              <a:xfrm>
                <a:off x="7742947" y="3859726"/>
                <a:ext cx="3775951" cy="8009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32" name="ïṣlíḑé"/>
              <p:cNvSpPr txBox="1"/>
              <p:nvPr/>
            </p:nvSpPr>
            <p:spPr bwMode="auto">
              <a:xfrm>
                <a:off x="7742947" y="3417921"/>
                <a:ext cx="37759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>
                    <a:ea typeface="阿里巴巴普惠体" panose="00020600040101010101" pitchFamily="18" charset="-122"/>
                  </a:rPr>
                  <a:t>Text here</a:t>
                </a:r>
              </a:p>
            </p:txBody>
          </p:sp>
        </p:grpSp>
        <p:grpSp>
          <p:nvGrpSpPr>
            <p:cNvPr id="17" name="iSlíḑè"/>
            <p:cNvGrpSpPr/>
            <p:nvPr/>
          </p:nvGrpSpPr>
          <p:grpSpPr>
            <a:xfrm>
              <a:off x="7742948" y="4513220"/>
              <a:ext cx="3775953" cy="1242751"/>
              <a:chOff x="7742947" y="3417921"/>
              <a:chExt cx="3775953" cy="1242751"/>
            </a:xfrm>
          </p:grpSpPr>
          <p:sp>
            <p:nvSpPr>
              <p:cNvPr id="29" name="î$1îḑê"/>
              <p:cNvSpPr/>
              <p:nvPr/>
            </p:nvSpPr>
            <p:spPr bwMode="auto">
              <a:xfrm>
                <a:off x="7742947" y="3859726"/>
                <a:ext cx="3775951" cy="8009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30" name="íṥ1ïḑê"/>
              <p:cNvSpPr txBox="1"/>
              <p:nvPr/>
            </p:nvSpPr>
            <p:spPr bwMode="auto">
              <a:xfrm>
                <a:off x="7742947" y="3417921"/>
                <a:ext cx="3775953" cy="441805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sz="2000" b="1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8" name="îsļîdè"/>
            <p:cNvGrpSpPr/>
            <p:nvPr/>
          </p:nvGrpSpPr>
          <p:grpSpPr>
            <a:xfrm>
              <a:off x="660400" y="2278469"/>
              <a:ext cx="3775953" cy="1242751"/>
              <a:chOff x="7742947" y="3417921"/>
              <a:chExt cx="3775953" cy="1242751"/>
            </a:xfrm>
          </p:grpSpPr>
          <p:sp>
            <p:nvSpPr>
              <p:cNvPr id="27" name="iŝļïḍê"/>
              <p:cNvSpPr/>
              <p:nvPr/>
            </p:nvSpPr>
            <p:spPr bwMode="auto">
              <a:xfrm>
                <a:off x="7742947" y="3859726"/>
                <a:ext cx="3775951" cy="8009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8" name="iṧľîḍé"/>
              <p:cNvSpPr txBox="1"/>
              <p:nvPr/>
            </p:nvSpPr>
            <p:spPr bwMode="auto">
              <a:xfrm>
                <a:off x="7742947" y="3417921"/>
                <a:ext cx="37759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sz="2000" b="1"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9" name="îş1íḍé"/>
            <p:cNvGrpSpPr/>
            <p:nvPr/>
          </p:nvGrpSpPr>
          <p:grpSpPr>
            <a:xfrm>
              <a:off x="660400" y="3760586"/>
              <a:ext cx="3775953" cy="1242751"/>
              <a:chOff x="7742947" y="3417921"/>
              <a:chExt cx="3775953" cy="1242751"/>
            </a:xfrm>
          </p:grpSpPr>
          <p:sp>
            <p:nvSpPr>
              <p:cNvPr id="25" name="išḻîḍê"/>
              <p:cNvSpPr/>
              <p:nvPr/>
            </p:nvSpPr>
            <p:spPr bwMode="auto">
              <a:xfrm>
                <a:off x="7742947" y="3859726"/>
                <a:ext cx="3775951" cy="8009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6" name="îşľíḑè"/>
              <p:cNvSpPr txBox="1"/>
              <p:nvPr/>
            </p:nvSpPr>
            <p:spPr bwMode="auto">
              <a:xfrm>
                <a:off x="7742947" y="3417921"/>
                <a:ext cx="377595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sz="2000" b="1" dirty="0">
                  <a:ea typeface="阿里巴巴普惠体" panose="00020600040101010101" pitchFamily="18" charset="-122"/>
                </a:endParaRPr>
              </a:p>
            </p:txBody>
          </p:sp>
        </p:grpSp>
        <p:sp>
          <p:nvSpPr>
            <p:cNvPr id="20" name="íṩḻíḋe"/>
            <p:cNvSpPr/>
            <p:nvPr/>
          </p:nvSpPr>
          <p:spPr>
            <a:xfrm>
              <a:off x="5181092" y="2666004"/>
              <a:ext cx="513882" cy="448590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21" name="ïṧļïḑè"/>
            <p:cNvSpPr/>
            <p:nvPr/>
          </p:nvSpPr>
          <p:spPr>
            <a:xfrm>
              <a:off x="5176575" y="4135838"/>
              <a:ext cx="522916" cy="473156"/>
            </a:xfrm>
            <a:custGeom>
              <a:avLst/>
              <a:gdLst>
                <a:gd name="connsiteX0" fmla="*/ 407586 w 606580"/>
                <a:gd name="connsiteY0" fmla="*/ 252695 h 548858"/>
                <a:gd name="connsiteX1" fmla="*/ 502285 w 606580"/>
                <a:gd name="connsiteY1" fmla="*/ 252695 h 548858"/>
                <a:gd name="connsiteX2" fmla="*/ 502285 w 606580"/>
                <a:gd name="connsiteY2" fmla="*/ 346759 h 548858"/>
                <a:gd name="connsiteX3" fmla="*/ 407586 w 606580"/>
                <a:gd name="connsiteY3" fmla="*/ 346759 h 548858"/>
                <a:gd name="connsiteX4" fmla="*/ 104296 w 606580"/>
                <a:gd name="connsiteY4" fmla="*/ 205698 h 548858"/>
                <a:gd name="connsiteX5" fmla="*/ 199065 w 606580"/>
                <a:gd name="connsiteY5" fmla="*/ 205698 h 548858"/>
                <a:gd name="connsiteX6" fmla="*/ 199065 w 606580"/>
                <a:gd name="connsiteY6" fmla="*/ 346758 h 548858"/>
                <a:gd name="connsiteX7" fmla="*/ 104296 w 606580"/>
                <a:gd name="connsiteY7" fmla="*/ 346758 h 548858"/>
                <a:gd name="connsiteX8" fmla="*/ 255870 w 606580"/>
                <a:gd name="connsiteY8" fmla="*/ 96040 h 548858"/>
                <a:gd name="connsiteX9" fmla="*/ 350710 w 606580"/>
                <a:gd name="connsiteY9" fmla="*/ 96040 h 548858"/>
                <a:gd name="connsiteX10" fmla="*/ 350710 w 606580"/>
                <a:gd name="connsiteY10" fmla="*/ 346759 h 548858"/>
                <a:gd name="connsiteX11" fmla="*/ 255870 w 606580"/>
                <a:gd name="connsiteY11" fmla="*/ 346759 h 548858"/>
                <a:gd name="connsiteX12" fmla="*/ 37882 w 606580"/>
                <a:gd name="connsiteY12" fmla="*/ 37913 h 548858"/>
                <a:gd name="connsiteX13" fmla="*/ 37882 w 606580"/>
                <a:gd name="connsiteY13" fmla="*/ 405363 h 548858"/>
                <a:gd name="connsiteX14" fmla="*/ 568698 w 606580"/>
                <a:gd name="connsiteY14" fmla="*/ 405363 h 548858"/>
                <a:gd name="connsiteX15" fmla="*/ 568698 w 606580"/>
                <a:gd name="connsiteY15" fmla="*/ 37913 h 548858"/>
                <a:gd name="connsiteX16" fmla="*/ 18941 w 606580"/>
                <a:gd name="connsiteY16" fmla="*/ 0 h 548858"/>
                <a:gd name="connsiteX17" fmla="*/ 587639 w 606580"/>
                <a:gd name="connsiteY17" fmla="*/ 0 h 548858"/>
                <a:gd name="connsiteX18" fmla="*/ 606580 w 606580"/>
                <a:gd name="connsiteY18" fmla="*/ 18910 h 548858"/>
                <a:gd name="connsiteX19" fmla="*/ 606580 w 606580"/>
                <a:gd name="connsiteY19" fmla="*/ 424274 h 548858"/>
                <a:gd name="connsiteX20" fmla="*/ 587639 w 606580"/>
                <a:gd name="connsiteY20" fmla="*/ 443184 h 548858"/>
                <a:gd name="connsiteX21" fmla="*/ 322278 w 606580"/>
                <a:gd name="connsiteY21" fmla="*/ 443184 h 548858"/>
                <a:gd name="connsiteX22" fmla="*/ 322278 w 606580"/>
                <a:gd name="connsiteY22" fmla="*/ 511038 h 548858"/>
                <a:gd name="connsiteX23" fmla="*/ 450223 w 606580"/>
                <a:gd name="connsiteY23" fmla="*/ 511038 h 548858"/>
                <a:gd name="connsiteX24" fmla="*/ 450223 w 606580"/>
                <a:gd name="connsiteY24" fmla="*/ 548858 h 548858"/>
                <a:gd name="connsiteX25" fmla="*/ 156357 w 606580"/>
                <a:gd name="connsiteY25" fmla="*/ 548858 h 548858"/>
                <a:gd name="connsiteX26" fmla="*/ 156357 w 606580"/>
                <a:gd name="connsiteY26" fmla="*/ 511038 h 548858"/>
                <a:gd name="connsiteX27" fmla="*/ 284302 w 606580"/>
                <a:gd name="connsiteY27" fmla="*/ 511038 h 548858"/>
                <a:gd name="connsiteX28" fmla="*/ 284302 w 606580"/>
                <a:gd name="connsiteY28" fmla="*/ 443184 h 548858"/>
                <a:gd name="connsiteX29" fmla="*/ 18941 w 606580"/>
                <a:gd name="connsiteY29" fmla="*/ 443184 h 548858"/>
                <a:gd name="connsiteX30" fmla="*/ 0 w 606580"/>
                <a:gd name="connsiteY30" fmla="*/ 424274 h 548858"/>
                <a:gd name="connsiteX31" fmla="*/ 0 w 606580"/>
                <a:gd name="connsiteY31" fmla="*/ 18910 h 548858"/>
                <a:gd name="connsiteX32" fmla="*/ 18941 w 606580"/>
                <a:gd name="connsiteY32" fmla="*/ 0 h 54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6580" h="548858">
                  <a:moveTo>
                    <a:pt x="407586" y="252695"/>
                  </a:moveTo>
                  <a:lnTo>
                    <a:pt x="502285" y="252695"/>
                  </a:lnTo>
                  <a:lnTo>
                    <a:pt x="502285" y="346759"/>
                  </a:lnTo>
                  <a:lnTo>
                    <a:pt x="407586" y="346759"/>
                  </a:lnTo>
                  <a:close/>
                  <a:moveTo>
                    <a:pt x="104296" y="205698"/>
                  </a:moveTo>
                  <a:lnTo>
                    <a:pt x="199065" y="205698"/>
                  </a:lnTo>
                  <a:lnTo>
                    <a:pt x="199065" y="346758"/>
                  </a:lnTo>
                  <a:lnTo>
                    <a:pt x="104296" y="346758"/>
                  </a:lnTo>
                  <a:close/>
                  <a:moveTo>
                    <a:pt x="255870" y="96040"/>
                  </a:moveTo>
                  <a:lnTo>
                    <a:pt x="350710" y="96040"/>
                  </a:lnTo>
                  <a:lnTo>
                    <a:pt x="350710" y="346759"/>
                  </a:lnTo>
                  <a:lnTo>
                    <a:pt x="255870" y="346759"/>
                  </a:lnTo>
                  <a:close/>
                  <a:moveTo>
                    <a:pt x="37882" y="37913"/>
                  </a:moveTo>
                  <a:lnTo>
                    <a:pt x="37882" y="405363"/>
                  </a:lnTo>
                  <a:lnTo>
                    <a:pt x="568698" y="405363"/>
                  </a:lnTo>
                  <a:lnTo>
                    <a:pt x="568698" y="37913"/>
                  </a:lnTo>
                  <a:close/>
                  <a:moveTo>
                    <a:pt x="18941" y="0"/>
                  </a:moveTo>
                  <a:lnTo>
                    <a:pt x="587639" y="0"/>
                  </a:lnTo>
                  <a:cubicBezTo>
                    <a:pt x="598038" y="0"/>
                    <a:pt x="606580" y="8528"/>
                    <a:pt x="606580" y="18910"/>
                  </a:cubicBezTo>
                  <a:lnTo>
                    <a:pt x="606580" y="424274"/>
                  </a:lnTo>
                  <a:cubicBezTo>
                    <a:pt x="606580" y="434656"/>
                    <a:pt x="598038" y="443184"/>
                    <a:pt x="587639" y="443184"/>
                  </a:cubicBezTo>
                  <a:lnTo>
                    <a:pt x="322278" y="443184"/>
                  </a:lnTo>
                  <a:lnTo>
                    <a:pt x="322278" y="511038"/>
                  </a:lnTo>
                  <a:lnTo>
                    <a:pt x="450223" y="511038"/>
                  </a:lnTo>
                  <a:lnTo>
                    <a:pt x="450223" y="548858"/>
                  </a:lnTo>
                  <a:lnTo>
                    <a:pt x="156357" y="548858"/>
                  </a:lnTo>
                  <a:lnTo>
                    <a:pt x="156357" y="511038"/>
                  </a:lnTo>
                  <a:lnTo>
                    <a:pt x="284302" y="511038"/>
                  </a:lnTo>
                  <a:lnTo>
                    <a:pt x="284302" y="443184"/>
                  </a:lnTo>
                  <a:lnTo>
                    <a:pt x="18941" y="443184"/>
                  </a:lnTo>
                  <a:cubicBezTo>
                    <a:pt x="8542" y="443184"/>
                    <a:pt x="0" y="434656"/>
                    <a:pt x="0" y="424274"/>
                  </a:cubicBezTo>
                  <a:lnTo>
                    <a:pt x="0" y="18910"/>
                  </a:lnTo>
                  <a:cubicBezTo>
                    <a:pt x="0" y="8528"/>
                    <a:pt x="8542" y="0"/>
                    <a:pt x="18941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22" name="ïşlíḍé"/>
            <p:cNvSpPr/>
            <p:nvPr/>
          </p:nvSpPr>
          <p:spPr>
            <a:xfrm>
              <a:off x="6509072" y="3374056"/>
              <a:ext cx="464390" cy="456934"/>
            </a:xfrm>
            <a:custGeom>
              <a:avLst/>
              <a:gdLst>
                <a:gd name="connsiteX0" fmla="*/ 396980 w 599394"/>
                <a:gd name="connsiteY0" fmla="*/ 411566 h 589770"/>
                <a:gd name="connsiteX1" fmla="*/ 485009 w 599394"/>
                <a:gd name="connsiteY1" fmla="*/ 411566 h 589770"/>
                <a:gd name="connsiteX2" fmla="*/ 485009 w 599394"/>
                <a:gd name="connsiteY2" fmla="*/ 499521 h 589770"/>
                <a:gd name="connsiteX3" fmla="*/ 396980 w 599394"/>
                <a:gd name="connsiteY3" fmla="*/ 499521 h 589770"/>
                <a:gd name="connsiteX4" fmla="*/ 255424 w 599394"/>
                <a:gd name="connsiteY4" fmla="*/ 411566 h 589770"/>
                <a:gd name="connsiteX5" fmla="*/ 343453 w 599394"/>
                <a:gd name="connsiteY5" fmla="*/ 411566 h 589770"/>
                <a:gd name="connsiteX6" fmla="*/ 343453 w 599394"/>
                <a:gd name="connsiteY6" fmla="*/ 499521 h 589770"/>
                <a:gd name="connsiteX7" fmla="*/ 255424 w 599394"/>
                <a:gd name="connsiteY7" fmla="*/ 499521 h 589770"/>
                <a:gd name="connsiteX8" fmla="*/ 114311 w 599394"/>
                <a:gd name="connsiteY8" fmla="*/ 411566 h 589770"/>
                <a:gd name="connsiteX9" fmla="*/ 202414 w 599394"/>
                <a:gd name="connsiteY9" fmla="*/ 411566 h 589770"/>
                <a:gd name="connsiteX10" fmla="*/ 202414 w 599394"/>
                <a:gd name="connsiteY10" fmla="*/ 499521 h 589770"/>
                <a:gd name="connsiteX11" fmla="*/ 114311 w 599394"/>
                <a:gd name="connsiteY11" fmla="*/ 499521 h 589770"/>
                <a:gd name="connsiteX12" fmla="*/ 396980 w 599394"/>
                <a:gd name="connsiteY12" fmla="*/ 289110 h 589770"/>
                <a:gd name="connsiteX13" fmla="*/ 485009 w 599394"/>
                <a:gd name="connsiteY13" fmla="*/ 289110 h 589770"/>
                <a:gd name="connsiteX14" fmla="*/ 485009 w 599394"/>
                <a:gd name="connsiteY14" fmla="*/ 377065 h 589770"/>
                <a:gd name="connsiteX15" fmla="*/ 396980 w 599394"/>
                <a:gd name="connsiteY15" fmla="*/ 377065 h 589770"/>
                <a:gd name="connsiteX16" fmla="*/ 255424 w 599394"/>
                <a:gd name="connsiteY16" fmla="*/ 289110 h 589770"/>
                <a:gd name="connsiteX17" fmla="*/ 343453 w 599394"/>
                <a:gd name="connsiteY17" fmla="*/ 289110 h 589770"/>
                <a:gd name="connsiteX18" fmla="*/ 343453 w 599394"/>
                <a:gd name="connsiteY18" fmla="*/ 377065 h 589770"/>
                <a:gd name="connsiteX19" fmla="*/ 255424 w 599394"/>
                <a:gd name="connsiteY19" fmla="*/ 377065 h 589770"/>
                <a:gd name="connsiteX20" fmla="*/ 114311 w 599394"/>
                <a:gd name="connsiteY20" fmla="*/ 289110 h 589770"/>
                <a:gd name="connsiteX21" fmla="*/ 202414 w 599394"/>
                <a:gd name="connsiteY21" fmla="*/ 289110 h 589770"/>
                <a:gd name="connsiteX22" fmla="*/ 202414 w 599394"/>
                <a:gd name="connsiteY22" fmla="*/ 377065 h 589770"/>
                <a:gd name="connsiteX23" fmla="*/ 114311 w 599394"/>
                <a:gd name="connsiteY23" fmla="*/ 377065 h 589770"/>
                <a:gd name="connsiteX24" fmla="*/ 73311 w 599394"/>
                <a:gd name="connsiteY24" fmla="*/ 262427 h 589770"/>
                <a:gd name="connsiteX25" fmla="*/ 64089 w 599394"/>
                <a:gd name="connsiteY25" fmla="*/ 271635 h 589770"/>
                <a:gd name="connsiteX26" fmla="*/ 64089 w 599394"/>
                <a:gd name="connsiteY26" fmla="*/ 517027 h 589770"/>
                <a:gd name="connsiteX27" fmla="*/ 73311 w 599394"/>
                <a:gd name="connsiteY27" fmla="*/ 526235 h 589770"/>
                <a:gd name="connsiteX28" fmla="*/ 526083 w 599394"/>
                <a:gd name="connsiteY28" fmla="*/ 526235 h 589770"/>
                <a:gd name="connsiteX29" fmla="*/ 535305 w 599394"/>
                <a:gd name="connsiteY29" fmla="*/ 517027 h 589770"/>
                <a:gd name="connsiteX30" fmla="*/ 535305 w 599394"/>
                <a:gd name="connsiteY30" fmla="*/ 271635 h 589770"/>
                <a:gd name="connsiteX31" fmla="*/ 526083 w 599394"/>
                <a:gd name="connsiteY31" fmla="*/ 262427 h 589770"/>
                <a:gd name="connsiteX32" fmla="*/ 437558 w 599394"/>
                <a:gd name="connsiteY32" fmla="*/ 35911 h 589770"/>
                <a:gd name="connsiteX33" fmla="*/ 428336 w 599394"/>
                <a:gd name="connsiteY33" fmla="*/ 45119 h 589770"/>
                <a:gd name="connsiteX34" fmla="*/ 428336 w 599394"/>
                <a:gd name="connsiteY34" fmla="*/ 169887 h 589770"/>
                <a:gd name="connsiteX35" fmla="*/ 437558 w 599394"/>
                <a:gd name="connsiteY35" fmla="*/ 179095 h 589770"/>
                <a:gd name="connsiteX36" fmla="*/ 473982 w 599394"/>
                <a:gd name="connsiteY36" fmla="*/ 179095 h 589770"/>
                <a:gd name="connsiteX37" fmla="*/ 483204 w 599394"/>
                <a:gd name="connsiteY37" fmla="*/ 169887 h 589770"/>
                <a:gd name="connsiteX38" fmla="*/ 483204 w 599394"/>
                <a:gd name="connsiteY38" fmla="*/ 45119 h 589770"/>
                <a:gd name="connsiteX39" fmla="*/ 473982 w 599394"/>
                <a:gd name="connsiteY39" fmla="*/ 35911 h 589770"/>
                <a:gd name="connsiteX40" fmla="*/ 125412 w 599394"/>
                <a:gd name="connsiteY40" fmla="*/ 35911 h 589770"/>
                <a:gd name="connsiteX41" fmla="*/ 116190 w 599394"/>
                <a:gd name="connsiteY41" fmla="*/ 45119 h 589770"/>
                <a:gd name="connsiteX42" fmla="*/ 116190 w 599394"/>
                <a:gd name="connsiteY42" fmla="*/ 169887 h 589770"/>
                <a:gd name="connsiteX43" fmla="*/ 125412 w 599394"/>
                <a:gd name="connsiteY43" fmla="*/ 179095 h 589770"/>
                <a:gd name="connsiteX44" fmla="*/ 161836 w 599394"/>
                <a:gd name="connsiteY44" fmla="*/ 179095 h 589770"/>
                <a:gd name="connsiteX45" fmla="*/ 171058 w 599394"/>
                <a:gd name="connsiteY45" fmla="*/ 169887 h 589770"/>
                <a:gd name="connsiteX46" fmla="*/ 171058 w 599394"/>
                <a:gd name="connsiteY46" fmla="*/ 45119 h 589770"/>
                <a:gd name="connsiteX47" fmla="*/ 161836 w 599394"/>
                <a:gd name="connsiteY47" fmla="*/ 35911 h 589770"/>
                <a:gd name="connsiteX48" fmla="*/ 92676 w 599394"/>
                <a:gd name="connsiteY48" fmla="*/ 0 h 589770"/>
                <a:gd name="connsiteX49" fmla="*/ 194573 w 599394"/>
                <a:gd name="connsiteY49" fmla="*/ 0 h 589770"/>
                <a:gd name="connsiteX50" fmla="*/ 207021 w 599394"/>
                <a:gd name="connsiteY50" fmla="*/ 12431 h 589770"/>
                <a:gd name="connsiteX51" fmla="*/ 207021 w 599394"/>
                <a:gd name="connsiteY51" fmla="*/ 84713 h 589770"/>
                <a:gd name="connsiteX52" fmla="*/ 392373 w 599394"/>
                <a:gd name="connsiteY52" fmla="*/ 84713 h 589770"/>
                <a:gd name="connsiteX53" fmla="*/ 392373 w 599394"/>
                <a:gd name="connsiteY53" fmla="*/ 12431 h 589770"/>
                <a:gd name="connsiteX54" fmla="*/ 404360 w 599394"/>
                <a:gd name="connsiteY54" fmla="*/ 0 h 589770"/>
                <a:gd name="connsiteX55" fmla="*/ 506718 w 599394"/>
                <a:gd name="connsiteY55" fmla="*/ 0 h 589770"/>
                <a:gd name="connsiteX56" fmla="*/ 519167 w 599394"/>
                <a:gd name="connsiteY56" fmla="*/ 12431 h 589770"/>
                <a:gd name="connsiteX57" fmla="*/ 519167 w 599394"/>
                <a:gd name="connsiteY57" fmla="*/ 84713 h 589770"/>
                <a:gd name="connsiteX58" fmla="*/ 586945 w 599394"/>
                <a:gd name="connsiteY58" fmla="*/ 84713 h 589770"/>
                <a:gd name="connsiteX59" fmla="*/ 599394 w 599394"/>
                <a:gd name="connsiteY59" fmla="*/ 97144 h 589770"/>
                <a:gd name="connsiteX60" fmla="*/ 599394 w 599394"/>
                <a:gd name="connsiteY60" fmla="*/ 577800 h 589770"/>
                <a:gd name="connsiteX61" fmla="*/ 586945 w 599394"/>
                <a:gd name="connsiteY61" fmla="*/ 589770 h 589770"/>
                <a:gd name="connsiteX62" fmla="*/ 12449 w 599394"/>
                <a:gd name="connsiteY62" fmla="*/ 589770 h 589770"/>
                <a:gd name="connsiteX63" fmla="*/ 0 w 599394"/>
                <a:gd name="connsiteY63" fmla="*/ 577800 h 589770"/>
                <a:gd name="connsiteX64" fmla="*/ 0 w 599394"/>
                <a:gd name="connsiteY64" fmla="*/ 97144 h 589770"/>
                <a:gd name="connsiteX65" fmla="*/ 12449 w 599394"/>
                <a:gd name="connsiteY65" fmla="*/ 84713 h 589770"/>
                <a:gd name="connsiteX66" fmla="*/ 80227 w 599394"/>
                <a:gd name="connsiteY66" fmla="*/ 84713 h 589770"/>
                <a:gd name="connsiteX67" fmla="*/ 80227 w 599394"/>
                <a:gd name="connsiteY67" fmla="*/ 12431 h 589770"/>
                <a:gd name="connsiteX68" fmla="*/ 92676 w 599394"/>
                <a:gd name="connsiteY68" fmla="*/ 0 h 589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599394" h="589770">
                  <a:moveTo>
                    <a:pt x="396980" y="411566"/>
                  </a:moveTo>
                  <a:lnTo>
                    <a:pt x="485009" y="411566"/>
                  </a:lnTo>
                  <a:lnTo>
                    <a:pt x="485009" y="499521"/>
                  </a:lnTo>
                  <a:lnTo>
                    <a:pt x="396980" y="499521"/>
                  </a:lnTo>
                  <a:close/>
                  <a:moveTo>
                    <a:pt x="255424" y="411566"/>
                  </a:moveTo>
                  <a:lnTo>
                    <a:pt x="343453" y="411566"/>
                  </a:lnTo>
                  <a:lnTo>
                    <a:pt x="343453" y="499521"/>
                  </a:lnTo>
                  <a:lnTo>
                    <a:pt x="255424" y="499521"/>
                  </a:lnTo>
                  <a:close/>
                  <a:moveTo>
                    <a:pt x="114311" y="411566"/>
                  </a:moveTo>
                  <a:lnTo>
                    <a:pt x="202414" y="411566"/>
                  </a:lnTo>
                  <a:lnTo>
                    <a:pt x="202414" y="499521"/>
                  </a:lnTo>
                  <a:lnTo>
                    <a:pt x="114311" y="499521"/>
                  </a:lnTo>
                  <a:close/>
                  <a:moveTo>
                    <a:pt x="396980" y="289110"/>
                  </a:moveTo>
                  <a:lnTo>
                    <a:pt x="485009" y="289110"/>
                  </a:lnTo>
                  <a:lnTo>
                    <a:pt x="485009" y="377065"/>
                  </a:lnTo>
                  <a:lnTo>
                    <a:pt x="396980" y="377065"/>
                  </a:lnTo>
                  <a:close/>
                  <a:moveTo>
                    <a:pt x="255424" y="289110"/>
                  </a:moveTo>
                  <a:lnTo>
                    <a:pt x="343453" y="289110"/>
                  </a:lnTo>
                  <a:lnTo>
                    <a:pt x="343453" y="377065"/>
                  </a:lnTo>
                  <a:lnTo>
                    <a:pt x="255424" y="377065"/>
                  </a:lnTo>
                  <a:close/>
                  <a:moveTo>
                    <a:pt x="114311" y="289110"/>
                  </a:moveTo>
                  <a:lnTo>
                    <a:pt x="202414" y="289110"/>
                  </a:lnTo>
                  <a:lnTo>
                    <a:pt x="202414" y="377065"/>
                  </a:lnTo>
                  <a:lnTo>
                    <a:pt x="114311" y="377065"/>
                  </a:lnTo>
                  <a:close/>
                  <a:moveTo>
                    <a:pt x="73311" y="262427"/>
                  </a:moveTo>
                  <a:cubicBezTo>
                    <a:pt x="68239" y="262427"/>
                    <a:pt x="64089" y="266570"/>
                    <a:pt x="64089" y="271635"/>
                  </a:cubicBezTo>
                  <a:lnTo>
                    <a:pt x="64089" y="517027"/>
                  </a:lnTo>
                  <a:cubicBezTo>
                    <a:pt x="64089" y="522091"/>
                    <a:pt x="68239" y="526235"/>
                    <a:pt x="73311" y="526235"/>
                  </a:cubicBezTo>
                  <a:lnTo>
                    <a:pt x="526083" y="526235"/>
                  </a:lnTo>
                  <a:cubicBezTo>
                    <a:pt x="531155" y="526235"/>
                    <a:pt x="535305" y="522091"/>
                    <a:pt x="535305" y="517027"/>
                  </a:cubicBezTo>
                  <a:lnTo>
                    <a:pt x="535305" y="271635"/>
                  </a:lnTo>
                  <a:cubicBezTo>
                    <a:pt x="535305" y="266570"/>
                    <a:pt x="531155" y="262427"/>
                    <a:pt x="526083" y="262427"/>
                  </a:cubicBezTo>
                  <a:close/>
                  <a:moveTo>
                    <a:pt x="437558" y="35911"/>
                  </a:moveTo>
                  <a:cubicBezTo>
                    <a:pt x="432486" y="35911"/>
                    <a:pt x="428336" y="40055"/>
                    <a:pt x="428336" y="45119"/>
                  </a:cubicBezTo>
                  <a:lnTo>
                    <a:pt x="428336" y="169887"/>
                  </a:lnTo>
                  <a:cubicBezTo>
                    <a:pt x="428336" y="174951"/>
                    <a:pt x="432486" y="179095"/>
                    <a:pt x="437558" y="179095"/>
                  </a:cubicBezTo>
                  <a:lnTo>
                    <a:pt x="473982" y="179095"/>
                  </a:lnTo>
                  <a:cubicBezTo>
                    <a:pt x="479054" y="179095"/>
                    <a:pt x="483204" y="174951"/>
                    <a:pt x="483204" y="169887"/>
                  </a:cubicBezTo>
                  <a:lnTo>
                    <a:pt x="483204" y="45119"/>
                  </a:lnTo>
                  <a:cubicBezTo>
                    <a:pt x="483204" y="40055"/>
                    <a:pt x="479054" y="35911"/>
                    <a:pt x="473982" y="35911"/>
                  </a:cubicBezTo>
                  <a:close/>
                  <a:moveTo>
                    <a:pt x="125412" y="35911"/>
                  </a:moveTo>
                  <a:cubicBezTo>
                    <a:pt x="120340" y="35911"/>
                    <a:pt x="116190" y="40055"/>
                    <a:pt x="116190" y="45119"/>
                  </a:cubicBezTo>
                  <a:lnTo>
                    <a:pt x="116190" y="169887"/>
                  </a:lnTo>
                  <a:cubicBezTo>
                    <a:pt x="116190" y="174951"/>
                    <a:pt x="120340" y="179095"/>
                    <a:pt x="125412" y="179095"/>
                  </a:cubicBezTo>
                  <a:lnTo>
                    <a:pt x="161836" y="179095"/>
                  </a:lnTo>
                  <a:cubicBezTo>
                    <a:pt x="166908" y="179095"/>
                    <a:pt x="171058" y="174951"/>
                    <a:pt x="171058" y="169887"/>
                  </a:cubicBezTo>
                  <a:lnTo>
                    <a:pt x="171058" y="45119"/>
                  </a:lnTo>
                  <a:cubicBezTo>
                    <a:pt x="171058" y="40055"/>
                    <a:pt x="166908" y="35911"/>
                    <a:pt x="161836" y="35911"/>
                  </a:cubicBezTo>
                  <a:close/>
                  <a:moveTo>
                    <a:pt x="92676" y="0"/>
                  </a:moveTo>
                  <a:lnTo>
                    <a:pt x="194573" y="0"/>
                  </a:lnTo>
                  <a:cubicBezTo>
                    <a:pt x="201489" y="0"/>
                    <a:pt x="207021" y="5525"/>
                    <a:pt x="207021" y="12431"/>
                  </a:cubicBezTo>
                  <a:lnTo>
                    <a:pt x="207021" y="84713"/>
                  </a:lnTo>
                  <a:lnTo>
                    <a:pt x="392373" y="84713"/>
                  </a:lnTo>
                  <a:lnTo>
                    <a:pt x="392373" y="12431"/>
                  </a:lnTo>
                  <a:cubicBezTo>
                    <a:pt x="392373" y="5525"/>
                    <a:pt x="397905" y="0"/>
                    <a:pt x="404360" y="0"/>
                  </a:cubicBezTo>
                  <a:lnTo>
                    <a:pt x="506718" y="0"/>
                  </a:lnTo>
                  <a:cubicBezTo>
                    <a:pt x="513635" y="0"/>
                    <a:pt x="519167" y="5525"/>
                    <a:pt x="519167" y="12431"/>
                  </a:cubicBezTo>
                  <a:lnTo>
                    <a:pt x="519167" y="84713"/>
                  </a:lnTo>
                  <a:lnTo>
                    <a:pt x="586945" y="84713"/>
                  </a:lnTo>
                  <a:cubicBezTo>
                    <a:pt x="593861" y="84713"/>
                    <a:pt x="599394" y="90238"/>
                    <a:pt x="599394" y="97144"/>
                  </a:cubicBezTo>
                  <a:lnTo>
                    <a:pt x="599394" y="577800"/>
                  </a:lnTo>
                  <a:cubicBezTo>
                    <a:pt x="599394" y="584245"/>
                    <a:pt x="593861" y="589770"/>
                    <a:pt x="586945" y="589770"/>
                  </a:cubicBezTo>
                  <a:lnTo>
                    <a:pt x="12449" y="589770"/>
                  </a:lnTo>
                  <a:cubicBezTo>
                    <a:pt x="5533" y="589770"/>
                    <a:pt x="0" y="584245"/>
                    <a:pt x="0" y="577800"/>
                  </a:cubicBezTo>
                  <a:lnTo>
                    <a:pt x="0" y="97144"/>
                  </a:lnTo>
                  <a:cubicBezTo>
                    <a:pt x="0" y="90238"/>
                    <a:pt x="5533" y="84713"/>
                    <a:pt x="12449" y="84713"/>
                  </a:cubicBezTo>
                  <a:lnTo>
                    <a:pt x="80227" y="84713"/>
                  </a:lnTo>
                  <a:lnTo>
                    <a:pt x="80227" y="12431"/>
                  </a:lnTo>
                  <a:cubicBezTo>
                    <a:pt x="80227" y="5525"/>
                    <a:pt x="85759" y="0"/>
                    <a:pt x="9267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23" name="isḷíḍé"/>
            <p:cNvSpPr/>
            <p:nvPr/>
          </p:nvSpPr>
          <p:spPr>
            <a:xfrm>
              <a:off x="6488288" y="1911222"/>
              <a:ext cx="505958" cy="456254"/>
            </a:xfrm>
            <a:custGeom>
              <a:avLst/>
              <a:gdLst>
                <a:gd name="connsiteX0" fmla="*/ 521432 w 608344"/>
                <a:gd name="connsiteY0" fmla="*/ 370453 h 548582"/>
                <a:gd name="connsiteX1" fmla="*/ 465737 w 608344"/>
                <a:gd name="connsiteY1" fmla="*/ 425787 h 548582"/>
                <a:gd name="connsiteX2" fmla="*/ 442491 w 608344"/>
                <a:gd name="connsiteY2" fmla="*/ 402479 h 548582"/>
                <a:gd name="connsiteX3" fmla="*/ 418201 w 608344"/>
                <a:gd name="connsiteY3" fmla="*/ 426545 h 548582"/>
                <a:gd name="connsiteX4" fmla="*/ 441447 w 608344"/>
                <a:gd name="connsiteY4" fmla="*/ 449948 h 548582"/>
                <a:gd name="connsiteX5" fmla="*/ 465642 w 608344"/>
                <a:gd name="connsiteY5" fmla="*/ 474204 h 548582"/>
                <a:gd name="connsiteX6" fmla="*/ 489932 w 608344"/>
                <a:gd name="connsiteY6" fmla="*/ 450043 h 548582"/>
                <a:gd name="connsiteX7" fmla="*/ 545532 w 608344"/>
                <a:gd name="connsiteY7" fmla="*/ 394709 h 548582"/>
                <a:gd name="connsiteX8" fmla="*/ 481962 w 608344"/>
                <a:gd name="connsiteY8" fmla="*/ 296170 h 548582"/>
                <a:gd name="connsiteX9" fmla="*/ 608344 w 608344"/>
                <a:gd name="connsiteY9" fmla="*/ 422376 h 548582"/>
                <a:gd name="connsiteX10" fmla="*/ 481962 w 608344"/>
                <a:gd name="connsiteY10" fmla="*/ 548582 h 548582"/>
                <a:gd name="connsiteX11" fmla="*/ 355579 w 608344"/>
                <a:gd name="connsiteY11" fmla="*/ 422376 h 548582"/>
                <a:gd name="connsiteX12" fmla="*/ 481962 w 608344"/>
                <a:gd name="connsiteY12" fmla="*/ 296170 h 548582"/>
                <a:gd name="connsiteX13" fmla="*/ 255835 w 608344"/>
                <a:gd name="connsiteY13" fmla="*/ 446 h 548582"/>
                <a:gd name="connsiteX14" fmla="*/ 317801 w 608344"/>
                <a:gd name="connsiteY14" fmla="*/ 13616 h 548582"/>
                <a:gd name="connsiteX15" fmla="*/ 348072 w 608344"/>
                <a:gd name="connsiteY15" fmla="*/ 41661 h 548582"/>
                <a:gd name="connsiteX16" fmla="*/ 381190 w 608344"/>
                <a:gd name="connsiteY16" fmla="*/ 146831 h 548582"/>
                <a:gd name="connsiteX17" fmla="*/ 378913 w 608344"/>
                <a:gd name="connsiteY17" fmla="*/ 156211 h 548582"/>
                <a:gd name="connsiteX18" fmla="*/ 387833 w 608344"/>
                <a:gd name="connsiteY18" fmla="*/ 200458 h 548582"/>
                <a:gd name="connsiteX19" fmla="*/ 366387 w 608344"/>
                <a:gd name="connsiteY19" fmla="*/ 237694 h 548582"/>
                <a:gd name="connsiteX20" fmla="*/ 351393 w 608344"/>
                <a:gd name="connsiteY20" fmla="*/ 278720 h 548582"/>
                <a:gd name="connsiteX21" fmla="*/ 351393 w 608344"/>
                <a:gd name="connsiteY21" fmla="*/ 322873 h 548582"/>
                <a:gd name="connsiteX22" fmla="*/ 317611 w 608344"/>
                <a:gd name="connsiteY22" fmla="*/ 422358 h 548582"/>
                <a:gd name="connsiteX23" fmla="*/ 376635 w 608344"/>
                <a:gd name="connsiteY23" fmla="*/ 548088 h 548582"/>
                <a:gd name="connsiteX24" fmla="*/ 26855 w 608344"/>
                <a:gd name="connsiteY24" fmla="*/ 548088 h 548582"/>
                <a:gd name="connsiteX25" fmla="*/ 0 w 608344"/>
                <a:gd name="connsiteY25" fmla="*/ 521274 h 548582"/>
                <a:gd name="connsiteX26" fmla="*/ 0 w 608344"/>
                <a:gd name="connsiteY26" fmla="*/ 473806 h 548582"/>
                <a:gd name="connsiteX27" fmla="*/ 19453 w 608344"/>
                <a:gd name="connsiteY27" fmla="*/ 432969 h 548582"/>
                <a:gd name="connsiteX28" fmla="*/ 173751 w 608344"/>
                <a:gd name="connsiteY28" fmla="*/ 334242 h 548582"/>
                <a:gd name="connsiteX29" fmla="*/ 176408 w 608344"/>
                <a:gd name="connsiteY29" fmla="*/ 329884 h 548582"/>
                <a:gd name="connsiteX30" fmla="*/ 176408 w 608344"/>
                <a:gd name="connsiteY30" fmla="*/ 278720 h 548582"/>
                <a:gd name="connsiteX31" fmla="*/ 161320 w 608344"/>
                <a:gd name="connsiteY31" fmla="*/ 237694 h 548582"/>
                <a:gd name="connsiteX32" fmla="*/ 139969 w 608344"/>
                <a:gd name="connsiteY32" fmla="*/ 200458 h 548582"/>
                <a:gd name="connsiteX33" fmla="*/ 148320 w 608344"/>
                <a:gd name="connsiteY33" fmla="*/ 156211 h 548582"/>
                <a:gd name="connsiteX34" fmla="*/ 146042 w 608344"/>
                <a:gd name="connsiteY34" fmla="*/ 146736 h 548582"/>
                <a:gd name="connsiteX35" fmla="*/ 145758 w 608344"/>
                <a:gd name="connsiteY35" fmla="*/ 95099 h 548582"/>
                <a:gd name="connsiteX36" fmla="*/ 176029 w 608344"/>
                <a:gd name="connsiteY36" fmla="*/ 42135 h 548582"/>
                <a:gd name="connsiteX37" fmla="*/ 203928 w 608344"/>
                <a:gd name="connsiteY37" fmla="*/ 19017 h 548582"/>
                <a:gd name="connsiteX38" fmla="*/ 231162 w 608344"/>
                <a:gd name="connsiteY38" fmla="*/ 5089 h 548582"/>
                <a:gd name="connsiteX39" fmla="*/ 255835 w 608344"/>
                <a:gd name="connsiteY39" fmla="*/ 446 h 548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8344" h="548582">
                  <a:moveTo>
                    <a:pt x="521432" y="370453"/>
                  </a:moveTo>
                  <a:lnTo>
                    <a:pt x="465737" y="425787"/>
                  </a:lnTo>
                  <a:lnTo>
                    <a:pt x="442491" y="402479"/>
                  </a:lnTo>
                  <a:lnTo>
                    <a:pt x="418201" y="426545"/>
                  </a:lnTo>
                  <a:lnTo>
                    <a:pt x="441447" y="449948"/>
                  </a:lnTo>
                  <a:lnTo>
                    <a:pt x="465642" y="474204"/>
                  </a:lnTo>
                  <a:lnTo>
                    <a:pt x="489932" y="450043"/>
                  </a:lnTo>
                  <a:lnTo>
                    <a:pt x="545532" y="394709"/>
                  </a:lnTo>
                  <a:close/>
                  <a:moveTo>
                    <a:pt x="481962" y="296170"/>
                  </a:moveTo>
                  <a:cubicBezTo>
                    <a:pt x="551795" y="296170"/>
                    <a:pt x="608344" y="352641"/>
                    <a:pt x="608344" y="422376"/>
                  </a:cubicBezTo>
                  <a:cubicBezTo>
                    <a:pt x="608344" y="492111"/>
                    <a:pt x="551795" y="548582"/>
                    <a:pt x="481962" y="548582"/>
                  </a:cubicBezTo>
                  <a:cubicBezTo>
                    <a:pt x="412129" y="548582"/>
                    <a:pt x="355579" y="492111"/>
                    <a:pt x="355579" y="422376"/>
                  </a:cubicBezTo>
                  <a:cubicBezTo>
                    <a:pt x="355579" y="352641"/>
                    <a:pt x="412129" y="296170"/>
                    <a:pt x="481962" y="296170"/>
                  </a:cubicBezTo>
                  <a:close/>
                  <a:moveTo>
                    <a:pt x="255835" y="446"/>
                  </a:moveTo>
                  <a:cubicBezTo>
                    <a:pt x="282785" y="-1828"/>
                    <a:pt x="303187" y="4899"/>
                    <a:pt x="317801" y="13616"/>
                  </a:cubicBezTo>
                  <a:cubicBezTo>
                    <a:pt x="339721" y="25744"/>
                    <a:pt x="348072" y="41661"/>
                    <a:pt x="348072" y="41661"/>
                  </a:cubicBezTo>
                  <a:cubicBezTo>
                    <a:pt x="348072" y="41661"/>
                    <a:pt x="398176" y="45167"/>
                    <a:pt x="381190" y="146831"/>
                  </a:cubicBezTo>
                  <a:cubicBezTo>
                    <a:pt x="380621" y="149863"/>
                    <a:pt x="379862" y="153085"/>
                    <a:pt x="378913" y="156211"/>
                  </a:cubicBezTo>
                  <a:cubicBezTo>
                    <a:pt x="388592" y="156211"/>
                    <a:pt x="398271" y="163507"/>
                    <a:pt x="387833" y="200458"/>
                  </a:cubicBezTo>
                  <a:cubicBezTo>
                    <a:pt x="379672" y="229262"/>
                    <a:pt x="372080" y="237221"/>
                    <a:pt x="366387" y="237694"/>
                  </a:cubicBezTo>
                  <a:cubicBezTo>
                    <a:pt x="364394" y="250675"/>
                    <a:pt x="359175" y="265076"/>
                    <a:pt x="351393" y="278720"/>
                  </a:cubicBezTo>
                  <a:lnTo>
                    <a:pt x="351393" y="322873"/>
                  </a:lnTo>
                  <a:cubicBezTo>
                    <a:pt x="330232" y="350539"/>
                    <a:pt x="317611" y="385027"/>
                    <a:pt x="317611" y="422358"/>
                  </a:cubicBezTo>
                  <a:cubicBezTo>
                    <a:pt x="317611" y="472764"/>
                    <a:pt x="340480" y="518053"/>
                    <a:pt x="376635" y="548088"/>
                  </a:cubicBezTo>
                  <a:lnTo>
                    <a:pt x="26855" y="548088"/>
                  </a:lnTo>
                  <a:cubicBezTo>
                    <a:pt x="12052" y="548088"/>
                    <a:pt x="0" y="536055"/>
                    <a:pt x="0" y="521274"/>
                  </a:cubicBezTo>
                  <a:lnTo>
                    <a:pt x="0" y="473806"/>
                  </a:lnTo>
                  <a:cubicBezTo>
                    <a:pt x="0" y="457983"/>
                    <a:pt x="7212" y="443013"/>
                    <a:pt x="19453" y="432969"/>
                  </a:cubicBezTo>
                  <a:cubicBezTo>
                    <a:pt x="86638" y="377921"/>
                    <a:pt x="159043" y="341443"/>
                    <a:pt x="173751" y="334242"/>
                  </a:cubicBezTo>
                  <a:cubicBezTo>
                    <a:pt x="175365" y="333484"/>
                    <a:pt x="176408" y="331779"/>
                    <a:pt x="176408" y="329884"/>
                  </a:cubicBezTo>
                  <a:lnTo>
                    <a:pt x="176408" y="278720"/>
                  </a:lnTo>
                  <a:cubicBezTo>
                    <a:pt x="168437" y="265076"/>
                    <a:pt x="163313" y="250675"/>
                    <a:pt x="161320" y="237694"/>
                  </a:cubicBezTo>
                  <a:cubicBezTo>
                    <a:pt x="155627" y="237221"/>
                    <a:pt x="148035" y="229072"/>
                    <a:pt x="139969" y="200458"/>
                  </a:cubicBezTo>
                  <a:cubicBezTo>
                    <a:pt x="129531" y="164170"/>
                    <a:pt x="138925" y="156496"/>
                    <a:pt x="148320" y="156211"/>
                  </a:cubicBezTo>
                  <a:cubicBezTo>
                    <a:pt x="147371" y="153085"/>
                    <a:pt x="146612" y="149863"/>
                    <a:pt x="146042" y="146736"/>
                  </a:cubicBezTo>
                  <a:cubicBezTo>
                    <a:pt x="142436" y="128450"/>
                    <a:pt x="141487" y="111396"/>
                    <a:pt x="145758" y="95099"/>
                  </a:cubicBezTo>
                  <a:cubicBezTo>
                    <a:pt x="150787" y="73212"/>
                    <a:pt x="162744" y="55684"/>
                    <a:pt x="176029" y="42135"/>
                  </a:cubicBezTo>
                  <a:cubicBezTo>
                    <a:pt x="184379" y="33134"/>
                    <a:pt x="193869" y="25459"/>
                    <a:pt x="203928" y="19017"/>
                  </a:cubicBezTo>
                  <a:cubicBezTo>
                    <a:pt x="212183" y="13332"/>
                    <a:pt x="221293" y="8405"/>
                    <a:pt x="231162" y="5089"/>
                  </a:cubicBezTo>
                  <a:cubicBezTo>
                    <a:pt x="238849" y="2625"/>
                    <a:pt x="247105" y="825"/>
                    <a:pt x="255835" y="446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24" name="ïṣ1íḋé"/>
            <p:cNvSpPr/>
            <p:nvPr/>
          </p:nvSpPr>
          <p:spPr>
            <a:xfrm>
              <a:off x="6503956" y="4845532"/>
              <a:ext cx="474623" cy="559036"/>
            </a:xfrm>
            <a:custGeom>
              <a:avLst/>
              <a:gdLst>
                <a:gd name="T0" fmla="*/ 94 w 294"/>
                <a:gd name="T1" fmla="*/ 150 h 347"/>
                <a:gd name="T2" fmla="*/ 94 w 294"/>
                <a:gd name="T3" fmla="*/ 277 h 347"/>
                <a:gd name="T4" fmla="*/ 85 w 294"/>
                <a:gd name="T5" fmla="*/ 290 h 347"/>
                <a:gd name="T6" fmla="*/ 58 w 294"/>
                <a:gd name="T7" fmla="*/ 294 h 347"/>
                <a:gd name="T8" fmla="*/ 58 w 294"/>
                <a:gd name="T9" fmla="*/ 294 h 347"/>
                <a:gd name="T10" fmla="*/ 1 w 294"/>
                <a:gd name="T11" fmla="*/ 257 h 347"/>
                <a:gd name="T12" fmla="*/ 1 w 294"/>
                <a:gd name="T13" fmla="*/ 94 h 347"/>
                <a:gd name="T14" fmla="*/ 23 w 294"/>
                <a:gd name="T15" fmla="*/ 52 h 347"/>
                <a:gd name="T16" fmla="*/ 100 w 294"/>
                <a:gd name="T17" fmla="*/ 3 h 347"/>
                <a:gd name="T18" fmla="*/ 114 w 294"/>
                <a:gd name="T19" fmla="*/ 3 h 347"/>
                <a:gd name="T20" fmla="*/ 121 w 294"/>
                <a:gd name="T21" fmla="*/ 14 h 347"/>
                <a:gd name="T22" fmla="*/ 121 w 294"/>
                <a:gd name="T23" fmla="*/ 34 h 347"/>
                <a:gd name="T24" fmla="*/ 107 w 294"/>
                <a:gd name="T25" fmla="*/ 47 h 347"/>
                <a:gd name="T26" fmla="*/ 95 w 294"/>
                <a:gd name="T27" fmla="*/ 38 h 347"/>
                <a:gd name="T28" fmla="*/ 36 w 294"/>
                <a:gd name="T29" fmla="*/ 76 h 347"/>
                <a:gd name="T30" fmla="*/ 27 w 294"/>
                <a:gd name="T31" fmla="*/ 90 h 347"/>
                <a:gd name="T32" fmla="*/ 30 w 294"/>
                <a:gd name="T33" fmla="*/ 100 h 347"/>
                <a:gd name="T34" fmla="*/ 68 w 294"/>
                <a:gd name="T35" fmla="*/ 92 h 347"/>
                <a:gd name="T36" fmla="*/ 166 w 294"/>
                <a:gd name="T37" fmla="*/ 27 h 347"/>
                <a:gd name="T38" fmla="*/ 180 w 294"/>
                <a:gd name="T39" fmla="*/ 26 h 347"/>
                <a:gd name="T40" fmla="*/ 187 w 294"/>
                <a:gd name="T41" fmla="*/ 38 h 347"/>
                <a:gd name="T42" fmla="*/ 187 w 294"/>
                <a:gd name="T43" fmla="*/ 40 h 347"/>
                <a:gd name="T44" fmla="*/ 181 w 294"/>
                <a:gd name="T45" fmla="*/ 51 h 347"/>
                <a:gd name="T46" fmla="*/ 120 w 294"/>
                <a:gd name="T47" fmla="*/ 92 h 347"/>
                <a:gd name="T48" fmla="*/ 94 w 294"/>
                <a:gd name="T49" fmla="*/ 150 h 347"/>
                <a:gd name="T50" fmla="*/ 294 w 294"/>
                <a:gd name="T51" fmla="*/ 85 h 347"/>
                <a:gd name="T52" fmla="*/ 294 w 294"/>
                <a:gd name="T53" fmla="*/ 258 h 347"/>
                <a:gd name="T54" fmla="*/ 288 w 294"/>
                <a:gd name="T55" fmla="*/ 270 h 347"/>
                <a:gd name="T56" fmla="*/ 194 w 294"/>
                <a:gd name="T57" fmla="*/ 340 h 347"/>
                <a:gd name="T58" fmla="*/ 164 w 294"/>
                <a:gd name="T59" fmla="*/ 347 h 347"/>
                <a:gd name="T60" fmla="*/ 107 w 294"/>
                <a:gd name="T61" fmla="*/ 307 h 347"/>
                <a:gd name="T62" fmla="*/ 107 w 294"/>
                <a:gd name="T63" fmla="*/ 146 h 347"/>
                <a:gd name="T64" fmla="*/ 107 w 294"/>
                <a:gd name="T65" fmla="*/ 142 h 347"/>
                <a:gd name="T66" fmla="*/ 107 w 294"/>
                <a:gd name="T67" fmla="*/ 142 h 347"/>
                <a:gd name="T68" fmla="*/ 128 w 294"/>
                <a:gd name="T69" fmla="*/ 105 h 347"/>
                <a:gd name="T70" fmla="*/ 206 w 294"/>
                <a:gd name="T71" fmla="*/ 50 h 347"/>
                <a:gd name="T72" fmla="*/ 220 w 294"/>
                <a:gd name="T73" fmla="*/ 50 h 347"/>
                <a:gd name="T74" fmla="*/ 227 w 294"/>
                <a:gd name="T75" fmla="*/ 61 h 347"/>
                <a:gd name="T76" fmla="*/ 227 w 294"/>
                <a:gd name="T77" fmla="*/ 81 h 347"/>
                <a:gd name="T78" fmla="*/ 214 w 294"/>
                <a:gd name="T79" fmla="*/ 94 h 347"/>
                <a:gd name="T80" fmla="*/ 202 w 294"/>
                <a:gd name="T81" fmla="*/ 86 h 347"/>
                <a:gd name="T82" fmla="*/ 144 w 294"/>
                <a:gd name="T83" fmla="*/ 126 h 347"/>
                <a:gd name="T84" fmla="*/ 134 w 294"/>
                <a:gd name="T85" fmla="*/ 142 h 347"/>
                <a:gd name="T86" fmla="*/ 137 w 294"/>
                <a:gd name="T87" fmla="*/ 151 h 347"/>
                <a:gd name="T88" fmla="*/ 180 w 294"/>
                <a:gd name="T89" fmla="*/ 144 h 347"/>
                <a:gd name="T90" fmla="*/ 272 w 294"/>
                <a:gd name="T91" fmla="*/ 75 h 347"/>
                <a:gd name="T92" fmla="*/ 286 w 294"/>
                <a:gd name="T93" fmla="*/ 73 h 347"/>
                <a:gd name="T94" fmla="*/ 294 w 294"/>
                <a:gd name="T95" fmla="*/ 85 h 347"/>
                <a:gd name="T96" fmla="*/ 267 w 294"/>
                <a:gd name="T97" fmla="*/ 145 h 347"/>
                <a:gd name="T98" fmla="*/ 201 w 294"/>
                <a:gd name="T99" fmla="*/ 196 h 347"/>
                <a:gd name="T100" fmla="*/ 201 w 294"/>
                <a:gd name="T101" fmla="*/ 223 h 347"/>
                <a:gd name="T102" fmla="*/ 267 w 294"/>
                <a:gd name="T103" fmla="*/ 171 h 347"/>
                <a:gd name="T104" fmla="*/ 267 w 294"/>
                <a:gd name="T105" fmla="*/ 145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4" h="347">
                  <a:moveTo>
                    <a:pt x="94" y="150"/>
                  </a:moveTo>
                  <a:lnTo>
                    <a:pt x="94" y="277"/>
                  </a:lnTo>
                  <a:cubicBezTo>
                    <a:pt x="94" y="283"/>
                    <a:pt x="90" y="288"/>
                    <a:pt x="85" y="290"/>
                  </a:cubicBezTo>
                  <a:cubicBezTo>
                    <a:pt x="77" y="292"/>
                    <a:pt x="68" y="294"/>
                    <a:pt x="58" y="294"/>
                  </a:cubicBezTo>
                  <a:lnTo>
                    <a:pt x="58" y="294"/>
                  </a:lnTo>
                  <a:cubicBezTo>
                    <a:pt x="31" y="294"/>
                    <a:pt x="1" y="282"/>
                    <a:pt x="1" y="257"/>
                  </a:cubicBezTo>
                  <a:lnTo>
                    <a:pt x="1" y="94"/>
                  </a:lnTo>
                  <a:cubicBezTo>
                    <a:pt x="0" y="83"/>
                    <a:pt x="4" y="63"/>
                    <a:pt x="23" y="52"/>
                  </a:cubicBezTo>
                  <a:cubicBezTo>
                    <a:pt x="31" y="47"/>
                    <a:pt x="77" y="18"/>
                    <a:pt x="100" y="3"/>
                  </a:cubicBezTo>
                  <a:cubicBezTo>
                    <a:pt x="104" y="0"/>
                    <a:pt x="109" y="0"/>
                    <a:pt x="114" y="3"/>
                  </a:cubicBezTo>
                  <a:cubicBezTo>
                    <a:pt x="118" y="5"/>
                    <a:pt x="121" y="9"/>
                    <a:pt x="121" y="14"/>
                  </a:cubicBezTo>
                  <a:lnTo>
                    <a:pt x="121" y="34"/>
                  </a:lnTo>
                  <a:cubicBezTo>
                    <a:pt x="121" y="41"/>
                    <a:pt x="115" y="47"/>
                    <a:pt x="107" y="47"/>
                  </a:cubicBezTo>
                  <a:cubicBezTo>
                    <a:pt x="101" y="47"/>
                    <a:pt x="97" y="43"/>
                    <a:pt x="95" y="38"/>
                  </a:cubicBezTo>
                  <a:cubicBezTo>
                    <a:pt x="74" y="52"/>
                    <a:pt x="43" y="71"/>
                    <a:pt x="36" y="76"/>
                  </a:cubicBezTo>
                  <a:cubicBezTo>
                    <a:pt x="29" y="79"/>
                    <a:pt x="27" y="87"/>
                    <a:pt x="27" y="90"/>
                  </a:cubicBezTo>
                  <a:cubicBezTo>
                    <a:pt x="27" y="95"/>
                    <a:pt x="28" y="98"/>
                    <a:pt x="30" y="100"/>
                  </a:cubicBezTo>
                  <a:cubicBezTo>
                    <a:pt x="35" y="105"/>
                    <a:pt x="50" y="102"/>
                    <a:pt x="68" y="92"/>
                  </a:cubicBezTo>
                  <a:cubicBezTo>
                    <a:pt x="84" y="82"/>
                    <a:pt x="166" y="28"/>
                    <a:pt x="166" y="27"/>
                  </a:cubicBezTo>
                  <a:cubicBezTo>
                    <a:pt x="171" y="24"/>
                    <a:pt x="176" y="24"/>
                    <a:pt x="180" y="26"/>
                  </a:cubicBezTo>
                  <a:cubicBezTo>
                    <a:pt x="184" y="29"/>
                    <a:pt x="187" y="33"/>
                    <a:pt x="187" y="38"/>
                  </a:cubicBezTo>
                  <a:lnTo>
                    <a:pt x="187" y="40"/>
                  </a:lnTo>
                  <a:cubicBezTo>
                    <a:pt x="187" y="44"/>
                    <a:pt x="185" y="48"/>
                    <a:pt x="181" y="51"/>
                  </a:cubicBezTo>
                  <a:cubicBezTo>
                    <a:pt x="181" y="51"/>
                    <a:pt x="125" y="89"/>
                    <a:pt x="120" y="92"/>
                  </a:cubicBezTo>
                  <a:cubicBezTo>
                    <a:pt x="100" y="104"/>
                    <a:pt x="94" y="119"/>
                    <a:pt x="94" y="150"/>
                  </a:cubicBezTo>
                  <a:close/>
                  <a:moveTo>
                    <a:pt x="294" y="85"/>
                  </a:moveTo>
                  <a:lnTo>
                    <a:pt x="294" y="258"/>
                  </a:lnTo>
                  <a:cubicBezTo>
                    <a:pt x="294" y="263"/>
                    <a:pt x="291" y="267"/>
                    <a:pt x="288" y="270"/>
                  </a:cubicBezTo>
                  <a:cubicBezTo>
                    <a:pt x="288" y="270"/>
                    <a:pt x="210" y="330"/>
                    <a:pt x="194" y="340"/>
                  </a:cubicBezTo>
                  <a:cubicBezTo>
                    <a:pt x="186" y="345"/>
                    <a:pt x="175" y="347"/>
                    <a:pt x="164" y="347"/>
                  </a:cubicBezTo>
                  <a:cubicBezTo>
                    <a:pt x="136" y="347"/>
                    <a:pt x="107" y="332"/>
                    <a:pt x="107" y="307"/>
                  </a:cubicBezTo>
                  <a:lnTo>
                    <a:pt x="107" y="146"/>
                  </a:lnTo>
                  <a:lnTo>
                    <a:pt x="107" y="142"/>
                  </a:lnTo>
                  <a:cubicBezTo>
                    <a:pt x="107" y="142"/>
                    <a:pt x="107" y="142"/>
                    <a:pt x="107" y="142"/>
                  </a:cubicBezTo>
                  <a:cubicBezTo>
                    <a:pt x="107" y="132"/>
                    <a:pt x="110" y="118"/>
                    <a:pt x="128" y="105"/>
                  </a:cubicBezTo>
                  <a:cubicBezTo>
                    <a:pt x="139" y="97"/>
                    <a:pt x="204" y="52"/>
                    <a:pt x="206" y="50"/>
                  </a:cubicBezTo>
                  <a:cubicBezTo>
                    <a:pt x="210" y="48"/>
                    <a:pt x="216" y="47"/>
                    <a:pt x="220" y="50"/>
                  </a:cubicBezTo>
                  <a:cubicBezTo>
                    <a:pt x="224" y="52"/>
                    <a:pt x="227" y="57"/>
                    <a:pt x="227" y="61"/>
                  </a:cubicBezTo>
                  <a:lnTo>
                    <a:pt x="227" y="81"/>
                  </a:lnTo>
                  <a:cubicBezTo>
                    <a:pt x="227" y="88"/>
                    <a:pt x="221" y="94"/>
                    <a:pt x="214" y="94"/>
                  </a:cubicBezTo>
                  <a:cubicBezTo>
                    <a:pt x="208" y="94"/>
                    <a:pt x="204" y="91"/>
                    <a:pt x="202" y="86"/>
                  </a:cubicBezTo>
                  <a:cubicBezTo>
                    <a:pt x="181" y="100"/>
                    <a:pt x="151" y="121"/>
                    <a:pt x="144" y="126"/>
                  </a:cubicBezTo>
                  <a:cubicBezTo>
                    <a:pt x="135" y="132"/>
                    <a:pt x="134" y="137"/>
                    <a:pt x="134" y="142"/>
                  </a:cubicBezTo>
                  <a:cubicBezTo>
                    <a:pt x="134" y="146"/>
                    <a:pt x="135" y="149"/>
                    <a:pt x="137" y="151"/>
                  </a:cubicBezTo>
                  <a:cubicBezTo>
                    <a:pt x="144" y="157"/>
                    <a:pt x="162" y="155"/>
                    <a:pt x="180" y="144"/>
                  </a:cubicBezTo>
                  <a:cubicBezTo>
                    <a:pt x="194" y="136"/>
                    <a:pt x="251" y="91"/>
                    <a:pt x="272" y="75"/>
                  </a:cubicBezTo>
                  <a:cubicBezTo>
                    <a:pt x="276" y="72"/>
                    <a:pt x="282" y="71"/>
                    <a:pt x="286" y="73"/>
                  </a:cubicBezTo>
                  <a:cubicBezTo>
                    <a:pt x="291" y="76"/>
                    <a:pt x="294" y="80"/>
                    <a:pt x="294" y="85"/>
                  </a:cubicBezTo>
                  <a:close/>
                  <a:moveTo>
                    <a:pt x="267" y="145"/>
                  </a:moveTo>
                  <a:lnTo>
                    <a:pt x="201" y="196"/>
                  </a:lnTo>
                  <a:lnTo>
                    <a:pt x="201" y="223"/>
                  </a:lnTo>
                  <a:lnTo>
                    <a:pt x="267" y="171"/>
                  </a:lnTo>
                  <a:lnTo>
                    <a:pt x="267" y="14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 dirty="0">
                <a:ea typeface="阿里巴巴普惠体" panose="00020600040101010101" pitchFamily="18" charset="-122"/>
              </a:endParaRPr>
            </a:p>
          </p:txBody>
        </p:sp>
      </p:grpSp>
      <p:sp>
        <p:nvSpPr>
          <p:cNvPr id="35" name="标题 1"/>
          <p:cNvSpPr txBox="1"/>
          <p:nvPr/>
        </p:nvSpPr>
        <p:spPr>
          <a:xfrm>
            <a:off x="669925" y="403129"/>
            <a:ext cx="2154289" cy="579119"/>
          </a:xfrm>
          <a:prstGeom prst="rect">
            <a:avLst/>
          </a:prstGeom>
          <a:solidFill>
            <a:srgbClr val="C0000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dist"/>
            <a:r>
              <a:rPr lang="zh-CN" altLang="en-US" dirty="0">
                <a:solidFill>
                  <a:schemeClr val="bg1"/>
                </a:solidFill>
                <a:ea typeface="阿里巴巴普惠体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427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60400" y="1817682"/>
            <a:ext cx="10858500" cy="3965702"/>
            <a:chOff x="660400" y="1817682"/>
            <a:chExt cx="10858500" cy="3965702"/>
          </a:xfrm>
        </p:grpSpPr>
        <p:sp>
          <p:nvSpPr>
            <p:cNvPr id="6" name="iṥļiḑê"/>
            <p:cNvSpPr/>
            <p:nvPr/>
          </p:nvSpPr>
          <p:spPr bwMode="auto">
            <a:xfrm>
              <a:off x="5852662" y="2120298"/>
              <a:ext cx="891640" cy="1539602"/>
            </a:xfrm>
            <a:custGeom>
              <a:avLst/>
              <a:gdLst>
                <a:gd name="T0" fmla="*/ 235 w 235"/>
                <a:gd name="T1" fmla="*/ 74 h 405"/>
                <a:gd name="T2" fmla="*/ 227 w 235"/>
                <a:gd name="T3" fmla="*/ 0 h 405"/>
                <a:gd name="T4" fmla="*/ 216 w 235"/>
                <a:gd name="T5" fmla="*/ 16 h 405"/>
                <a:gd name="T6" fmla="*/ 0 w 235"/>
                <a:gd name="T7" fmla="*/ 331 h 405"/>
                <a:gd name="T8" fmla="*/ 8 w 235"/>
                <a:gd name="T9" fmla="*/ 405 h 405"/>
                <a:gd name="T10" fmla="*/ 8 w 235"/>
                <a:gd name="T11" fmla="*/ 405 h 405"/>
                <a:gd name="T12" fmla="*/ 8 w 235"/>
                <a:gd name="T13" fmla="*/ 405 h 405"/>
                <a:gd name="T14" fmla="*/ 8 w 235"/>
                <a:gd name="T15" fmla="*/ 405 h 405"/>
                <a:gd name="T16" fmla="*/ 8 w 235"/>
                <a:gd name="T17" fmla="*/ 405 h 405"/>
                <a:gd name="T18" fmla="*/ 8 w 235"/>
                <a:gd name="T19" fmla="*/ 405 h 405"/>
                <a:gd name="T20" fmla="*/ 8 w 235"/>
                <a:gd name="T21" fmla="*/ 405 h 405"/>
                <a:gd name="T22" fmla="*/ 8 w 235"/>
                <a:gd name="T23" fmla="*/ 405 h 405"/>
                <a:gd name="T24" fmla="*/ 224 w 235"/>
                <a:gd name="T25" fmla="*/ 90 h 405"/>
                <a:gd name="T26" fmla="*/ 235 w 235"/>
                <a:gd name="T27" fmla="*/ 74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5" h="405">
                  <a:moveTo>
                    <a:pt x="235" y="74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223" y="5"/>
                    <a:pt x="219" y="11"/>
                    <a:pt x="216" y="16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8" y="405"/>
                    <a:pt x="8" y="405"/>
                    <a:pt x="8" y="405"/>
                  </a:cubicBezTo>
                  <a:cubicBezTo>
                    <a:pt x="9" y="404"/>
                    <a:pt x="18" y="390"/>
                    <a:pt x="224" y="90"/>
                  </a:cubicBezTo>
                  <a:cubicBezTo>
                    <a:pt x="228" y="85"/>
                    <a:pt x="231" y="79"/>
                    <a:pt x="235" y="7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7" name="íṧļíḍé"/>
            <p:cNvSpPr/>
            <p:nvPr/>
          </p:nvSpPr>
          <p:spPr bwMode="auto">
            <a:xfrm>
              <a:off x="4421053" y="3006399"/>
              <a:ext cx="1462069" cy="653500"/>
            </a:xfrm>
            <a:custGeom>
              <a:avLst/>
              <a:gdLst>
                <a:gd name="T0" fmla="*/ 1034 w 1056"/>
                <a:gd name="T1" fmla="*/ 269 h 472"/>
                <a:gd name="T2" fmla="*/ 0 w 1056"/>
                <a:gd name="T3" fmla="*/ 0 h 472"/>
                <a:gd name="T4" fmla="*/ 22 w 1056"/>
                <a:gd name="T5" fmla="*/ 203 h 472"/>
                <a:gd name="T6" fmla="*/ 1056 w 1056"/>
                <a:gd name="T7" fmla="*/ 472 h 472"/>
                <a:gd name="T8" fmla="*/ 1034 w 1056"/>
                <a:gd name="T9" fmla="*/ 269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6" h="472">
                  <a:moveTo>
                    <a:pt x="1034" y="269"/>
                  </a:moveTo>
                  <a:lnTo>
                    <a:pt x="0" y="0"/>
                  </a:lnTo>
                  <a:lnTo>
                    <a:pt x="22" y="203"/>
                  </a:lnTo>
                  <a:lnTo>
                    <a:pt x="1056" y="472"/>
                  </a:lnTo>
                  <a:lnTo>
                    <a:pt x="1034" y="26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8" name="išľiḋè"/>
            <p:cNvSpPr/>
            <p:nvPr/>
          </p:nvSpPr>
          <p:spPr bwMode="auto">
            <a:xfrm>
              <a:off x="4421053" y="2120298"/>
              <a:ext cx="2292789" cy="1258541"/>
            </a:xfrm>
            <a:custGeom>
              <a:avLst/>
              <a:gdLst>
                <a:gd name="T0" fmla="*/ 604 w 604"/>
                <a:gd name="T1" fmla="*/ 0 h 331"/>
                <a:gd name="T2" fmla="*/ 377 w 604"/>
                <a:gd name="T3" fmla="*/ 331 h 331"/>
                <a:gd name="T4" fmla="*/ 0 w 604"/>
                <a:gd name="T5" fmla="*/ 233 h 331"/>
                <a:gd name="T6" fmla="*/ 158 w 604"/>
                <a:gd name="T7" fmla="*/ 2 h 331"/>
                <a:gd name="T8" fmla="*/ 604 w 604"/>
                <a:gd name="T9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4" h="331">
                  <a:moveTo>
                    <a:pt x="604" y="0"/>
                  </a:moveTo>
                  <a:cubicBezTo>
                    <a:pt x="377" y="331"/>
                    <a:pt x="377" y="331"/>
                    <a:pt x="377" y="331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158" y="2"/>
                    <a:pt x="158" y="2"/>
                    <a:pt x="158" y="2"/>
                  </a:cubicBezTo>
                  <a:cubicBezTo>
                    <a:pt x="288" y="9"/>
                    <a:pt x="441" y="15"/>
                    <a:pt x="604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9" name="íṩḻîḓe"/>
            <p:cNvSpPr/>
            <p:nvPr/>
          </p:nvSpPr>
          <p:spPr bwMode="auto">
            <a:xfrm>
              <a:off x="7428262" y="2934404"/>
              <a:ext cx="634117" cy="1158855"/>
            </a:xfrm>
            <a:custGeom>
              <a:avLst/>
              <a:gdLst>
                <a:gd name="T0" fmla="*/ 20 w 167"/>
                <a:gd name="T1" fmla="*/ 289 h 305"/>
                <a:gd name="T2" fmla="*/ 23 w 167"/>
                <a:gd name="T3" fmla="*/ 285 h 305"/>
                <a:gd name="T4" fmla="*/ 25 w 167"/>
                <a:gd name="T5" fmla="*/ 281 h 305"/>
                <a:gd name="T6" fmla="*/ 27 w 167"/>
                <a:gd name="T7" fmla="*/ 279 h 305"/>
                <a:gd name="T8" fmla="*/ 63 w 167"/>
                <a:gd name="T9" fmla="*/ 226 h 305"/>
                <a:gd name="T10" fmla="*/ 64 w 167"/>
                <a:gd name="T11" fmla="*/ 225 h 305"/>
                <a:gd name="T12" fmla="*/ 75 w 167"/>
                <a:gd name="T13" fmla="*/ 208 h 305"/>
                <a:gd name="T14" fmla="*/ 76 w 167"/>
                <a:gd name="T15" fmla="*/ 207 h 305"/>
                <a:gd name="T16" fmla="*/ 147 w 167"/>
                <a:gd name="T17" fmla="*/ 104 h 305"/>
                <a:gd name="T18" fmla="*/ 148 w 167"/>
                <a:gd name="T19" fmla="*/ 103 h 305"/>
                <a:gd name="T20" fmla="*/ 167 w 167"/>
                <a:gd name="T21" fmla="*/ 74 h 305"/>
                <a:gd name="T22" fmla="*/ 159 w 167"/>
                <a:gd name="T23" fmla="*/ 0 h 305"/>
                <a:gd name="T24" fmla="*/ 0 w 167"/>
                <a:gd name="T25" fmla="*/ 231 h 305"/>
                <a:gd name="T26" fmla="*/ 0 w 167"/>
                <a:gd name="T27" fmla="*/ 231 h 305"/>
                <a:gd name="T28" fmla="*/ 0 w 167"/>
                <a:gd name="T29" fmla="*/ 231 h 305"/>
                <a:gd name="T30" fmla="*/ 0 w 167"/>
                <a:gd name="T31" fmla="*/ 231 h 305"/>
                <a:gd name="T32" fmla="*/ 0 w 167"/>
                <a:gd name="T33" fmla="*/ 231 h 305"/>
                <a:gd name="T34" fmla="*/ 0 w 167"/>
                <a:gd name="T35" fmla="*/ 231 h 305"/>
                <a:gd name="T36" fmla="*/ 9 w 167"/>
                <a:gd name="T37" fmla="*/ 305 h 305"/>
                <a:gd name="T38" fmla="*/ 17 w 167"/>
                <a:gd name="T39" fmla="*/ 293 h 305"/>
                <a:gd name="T40" fmla="*/ 20 w 167"/>
                <a:gd name="T41" fmla="*/ 28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305">
                  <a:moveTo>
                    <a:pt x="20" y="289"/>
                  </a:moveTo>
                  <a:cubicBezTo>
                    <a:pt x="21" y="288"/>
                    <a:pt x="22" y="287"/>
                    <a:pt x="23" y="285"/>
                  </a:cubicBezTo>
                  <a:cubicBezTo>
                    <a:pt x="23" y="284"/>
                    <a:pt x="24" y="282"/>
                    <a:pt x="25" y="281"/>
                  </a:cubicBezTo>
                  <a:cubicBezTo>
                    <a:pt x="26" y="280"/>
                    <a:pt x="26" y="279"/>
                    <a:pt x="27" y="279"/>
                  </a:cubicBezTo>
                  <a:cubicBezTo>
                    <a:pt x="35" y="267"/>
                    <a:pt x="47" y="250"/>
                    <a:pt x="63" y="226"/>
                  </a:cubicBezTo>
                  <a:cubicBezTo>
                    <a:pt x="64" y="225"/>
                    <a:pt x="64" y="225"/>
                    <a:pt x="64" y="225"/>
                  </a:cubicBezTo>
                  <a:cubicBezTo>
                    <a:pt x="68" y="220"/>
                    <a:pt x="71" y="214"/>
                    <a:pt x="75" y="208"/>
                  </a:cubicBezTo>
                  <a:cubicBezTo>
                    <a:pt x="76" y="208"/>
                    <a:pt x="76" y="207"/>
                    <a:pt x="76" y="207"/>
                  </a:cubicBezTo>
                  <a:cubicBezTo>
                    <a:pt x="94" y="180"/>
                    <a:pt x="117" y="147"/>
                    <a:pt x="147" y="104"/>
                  </a:cubicBezTo>
                  <a:cubicBezTo>
                    <a:pt x="147" y="104"/>
                    <a:pt x="147" y="103"/>
                    <a:pt x="148" y="103"/>
                  </a:cubicBezTo>
                  <a:cubicBezTo>
                    <a:pt x="154" y="94"/>
                    <a:pt x="160" y="84"/>
                    <a:pt x="167" y="74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6" y="223"/>
                    <a:pt x="1" y="231"/>
                    <a:pt x="0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9" y="305"/>
                    <a:pt x="9" y="305"/>
                    <a:pt x="9" y="305"/>
                  </a:cubicBezTo>
                  <a:cubicBezTo>
                    <a:pt x="9" y="305"/>
                    <a:pt x="9" y="305"/>
                    <a:pt x="17" y="293"/>
                  </a:cubicBezTo>
                  <a:cubicBezTo>
                    <a:pt x="18" y="292"/>
                    <a:pt x="19" y="291"/>
                    <a:pt x="20" y="28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0" name="ïŝļîḍè"/>
            <p:cNvSpPr/>
            <p:nvPr/>
          </p:nvSpPr>
          <p:spPr bwMode="auto">
            <a:xfrm>
              <a:off x="6000807" y="3439760"/>
              <a:ext cx="1462069" cy="653500"/>
            </a:xfrm>
            <a:custGeom>
              <a:avLst/>
              <a:gdLst>
                <a:gd name="T0" fmla="*/ 1031 w 1056"/>
                <a:gd name="T1" fmla="*/ 269 h 472"/>
                <a:gd name="T2" fmla="*/ 0 w 1056"/>
                <a:gd name="T3" fmla="*/ 0 h 472"/>
                <a:gd name="T4" fmla="*/ 22 w 1056"/>
                <a:gd name="T5" fmla="*/ 206 h 472"/>
                <a:gd name="T6" fmla="*/ 1056 w 1056"/>
                <a:gd name="T7" fmla="*/ 472 h 472"/>
                <a:gd name="T8" fmla="*/ 1031 w 1056"/>
                <a:gd name="T9" fmla="*/ 269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6" h="472">
                  <a:moveTo>
                    <a:pt x="1031" y="269"/>
                  </a:moveTo>
                  <a:lnTo>
                    <a:pt x="0" y="0"/>
                  </a:lnTo>
                  <a:lnTo>
                    <a:pt x="22" y="206"/>
                  </a:lnTo>
                  <a:lnTo>
                    <a:pt x="1056" y="472"/>
                  </a:lnTo>
                  <a:lnTo>
                    <a:pt x="1031" y="26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1" name="ïṣlide"/>
            <p:cNvSpPr/>
            <p:nvPr/>
          </p:nvSpPr>
          <p:spPr bwMode="auto">
            <a:xfrm>
              <a:off x="6000807" y="2185371"/>
              <a:ext cx="2031113" cy="1626828"/>
            </a:xfrm>
            <a:custGeom>
              <a:avLst/>
              <a:gdLst>
                <a:gd name="T0" fmla="*/ 226 w 535"/>
                <a:gd name="T1" fmla="*/ 0 h 428"/>
                <a:gd name="T2" fmla="*/ 535 w 535"/>
                <a:gd name="T3" fmla="*/ 197 h 428"/>
                <a:gd name="T4" fmla="*/ 376 w 535"/>
                <a:gd name="T5" fmla="*/ 428 h 428"/>
                <a:gd name="T6" fmla="*/ 0 w 535"/>
                <a:gd name="T7" fmla="*/ 330 h 428"/>
                <a:gd name="T8" fmla="*/ 226 w 535"/>
                <a:gd name="T9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5" h="428">
                  <a:moveTo>
                    <a:pt x="226" y="0"/>
                  </a:moveTo>
                  <a:cubicBezTo>
                    <a:pt x="323" y="82"/>
                    <a:pt x="436" y="145"/>
                    <a:pt x="535" y="197"/>
                  </a:cubicBezTo>
                  <a:cubicBezTo>
                    <a:pt x="376" y="428"/>
                    <a:pt x="376" y="428"/>
                    <a:pt x="376" y="428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226" y="0"/>
                    <a:pt x="226" y="0"/>
                    <a:pt x="226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2" name="isļídê"/>
            <p:cNvSpPr/>
            <p:nvPr/>
          </p:nvSpPr>
          <p:spPr bwMode="auto">
            <a:xfrm>
              <a:off x="3983539" y="3698666"/>
              <a:ext cx="832106" cy="1554832"/>
            </a:xfrm>
            <a:custGeom>
              <a:avLst/>
              <a:gdLst>
                <a:gd name="T0" fmla="*/ 211 w 219"/>
                <a:gd name="T1" fmla="*/ 335 h 409"/>
                <a:gd name="T2" fmla="*/ 119 w 219"/>
                <a:gd name="T3" fmla="*/ 227 h 409"/>
                <a:gd name="T4" fmla="*/ 0 w 219"/>
                <a:gd name="T5" fmla="*/ 0 h 409"/>
                <a:gd name="T6" fmla="*/ 9 w 219"/>
                <a:gd name="T7" fmla="*/ 74 h 409"/>
                <a:gd name="T8" fmla="*/ 127 w 219"/>
                <a:gd name="T9" fmla="*/ 301 h 409"/>
                <a:gd name="T10" fmla="*/ 219 w 219"/>
                <a:gd name="T11" fmla="*/ 409 h 409"/>
                <a:gd name="T12" fmla="*/ 211 w 219"/>
                <a:gd name="T13" fmla="*/ 33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409">
                  <a:moveTo>
                    <a:pt x="211" y="335"/>
                  </a:moveTo>
                  <a:cubicBezTo>
                    <a:pt x="177" y="299"/>
                    <a:pt x="149" y="262"/>
                    <a:pt x="119" y="227"/>
                  </a:cubicBezTo>
                  <a:cubicBezTo>
                    <a:pt x="21" y="95"/>
                    <a:pt x="3" y="28"/>
                    <a:pt x="0" y="0"/>
                  </a:cubicBezTo>
                  <a:cubicBezTo>
                    <a:pt x="3" y="25"/>
                    <a:pt x="6" y="50"/>
                    <a:pt x="9" y="74"/>
                  </a:cubicBezTo>
                  <a:cubicBezTo>
                    <a:pt x="12" y="102"/>
                    <a:pt x="29" y="169"/>
                    <a:pt x="127" y="301"/>
                  </a:cubicBezTo>
                  <a:cubicBezTo>
                    <a:pt x="157" y="336"/>
                    <a:pt x="185" y="373"/>
                    <a:pt x="219" y="409"/>
                  </a:cubicBezTo>
                  <a:lnTo>
                    <a:pt x="211" y="33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3" name="ïṡḷiḑe"/>
            <p:cNvSpPr/>
            <p:nvPr/>
          </p:nvSpPr>
          <p:spPr bwMode="auto">
            <a:xfrm>
              <a:off x="4785183" y="3496523"/>
              <a:ext cx="1041171" cy="1756974"/>
            </a:xfrm>
            <a:custGeom>
              <a:avLst/>
              <a:gdLst>
                <a:gd name="T0" fmla="*/ 727 w 752"/>
                <a:gd name="T1" fmla="*/ 0 h 1269"/>
                <a:gd name="T2" fmla="*/ 0 w 752"/>
                <a:gd name="T3" fmla="*/ 1066 h 1269"/>
                <a:gd name="T4" fmla="*/ 22 w 752"/>
                <a:gd name="T5" fmla="*/ 1269 h 1269"/>
                <a:gd name="T6" fmla="*/ 752 w 752"/>
                <a:gd name="T7" fmla="*/ 203 h 1269"/>
                <a:gd name="T8" fmla="*/ 727 w 752"/>
                <a:gd name="T9" fmla="*/ 0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2" h="1269">
                  <a:moveTo>
                    <a:pt x="727" y="0"/>
                  </a:moveTo>
                  <a:lnTo>
                    <a:pt x="0" y="1066"/>
                  </a:lnTo>
                  <a:lnTo>
                    <a:pt x="22" y="1269"/>
                  </a:lnTo>
                  <a:lnTo>
                    <a:pt x="752" y="203"/>
                  </a:lnTo>
                  <a:lnTo>
                    <a:pt x="727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4" name="iṥḷîďe"/>
            <p:cNvSpPr/>
            <p:nvPr/>
          </p:nvSpPr>
          <p:spPr bwMode="auto">
            <a:xfrm>
              <a:off x="3983539" y="3128237"/>
              <a:ext cx="1808203" cy="1844200"/>
            </a:xfrm>
            <a:custGeom>
              <a:avLst/>
              <a:gdLst>
                <a:gd name="T0" fmla="*/ 476 w 476"/>
                <a:gd name="T1" fmla="*/ 97 h 485"/>
                <a:gd name="T2" fmla="*/ 211 w 476"/>
                <a:gd name="T3" fmla="*/ 485 h 485"/>
                <a:gd name="T4" fmla="*/ 119 w 476"/>
                <a:gd name="T5" fmla="*/ 377 h 485"/>
                <a:gd name="T6" fmla="*/ 0 w 476"/>
                <a:gd name="T7" fmla="*/ 145 h 485"/>
                <a:gd name="T8" fmla="*/ 100 w 476"/>
                <a:gd name="T9" fmla="*/ 0 h 485"/>
                <a:gd name="T10" fmla="*/ 476 w 476"/>
                <a:gd name="T11" fmla="*/ 97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485">
                  <a:moveTo>
                    <a:pt x="476" y="97"/>
                  </a:moveTo>
                  <a:cubicBezTo>
                    <a:pt x="211" y="485"/>
                    <a:pt x="211" y="485"/>
                    <a:pt x="211" y="485"/>
                  </a:cubicBezTo>
                  <a:cubicBezTo>
                    <a:pt x="177" y="449"/>
                    <a:pt x="149" y="412"/>
                    <a:pt x="119" y="377"/>
                  </a:cubicBezTo>
                  <a:cubicBezTo>
                    <a:pt x="14" y="236"/>
                    <a:pt x="1" y="169"/>
                    <a:pt x="0" y="145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76" y="97"/>
                    <a:pt x="476" y="97"/>
                    <a:pt x="476" y="9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5" name="îṡḻídê"/>
            <p:cNvSpPr/>
            <p:nvPr/>
          </p:nvSpPr>
          <p:spPr bwMode="auto">
            <a:xfrm>
              <a:off x="6990748" y="3956191"/>
              <a:ext cx="409822" cy="833490"/>
            </a:xfrm>
            <a:custGeom>
              <a:avLst/>
              <a:gdLst>
                <a:gd name="T0" fmla="*/ 108 w 108"/>
                <a:gd name="T1" fmla="*/ 74 h 219"/>
                <a:gd name="T2" fmla="*/ 100 w 108"/>
                <a:gd name="T3" fmla="*/ 0 h 219"/>
                <a:gd name="T4" fmla="*/ 86 w 108"/>
                <a:gd name="T5" fmla="*/ 20 h 219"/>
                <a:gd name="T6" fmla="*/ 0 w 108"/>
                <a:gd name="T7" fmla="*/ 145 h 219"/>
                <a:gd name="T8" fmla="*/ 0 w 108"/>
                <a:gd name="T9" fmla="*/ 145 h 219"/>
                <a:gd name="T10" fmla="*/ 0 w 108"/>
                <a:gd name="T11" fmla="*/ 145 h 219"/>
                <a:gd name="T12" fmla="*/ 9 w 108"/>
                <a:gd name="T13" fmla="*/ 219 h 219"/>
                <a:gd name="T14" fmla="*/ 98 w 108"/>
                <a:gd name="T15" fmla="*/ 89 h 219"/>
                <a:gd name="T16" fmla="*/ 108 w 108"/>
                <a:gd name="T17" fmla="*/ 7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19">
                  <a:moveTo>
                    <a:pt x="108" y="74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95" y="7"/>
                    <a:pt x="90" y="14"/>
                    <a:pt x="86" y="20"/>
                  </a:cubicBezTo>
                  <a:cubicBezTo>
                    <a:pt x="4" y="140"/>
                    <a:pt x="0" y="145"/>
                    <a:pt x="0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9" y="219"/>
                    <a:pt x="9" y="219"/>
                    <a:pt x="9" y="219"/>
                  </a:cubicBezTo>
                  <a:cubicBezTo>
                    <a:pt x="9" y="219"/>
                    <a:pt x="9" y="219"/>
                    <a:pt x="98" y="89"/>
                  </a:cubicBezTo>
                  <a:cubicBezTo>
                    <a:pt x="101" y="84"/>
                    <a:pt x="105" y="79"/>
                    <a:pt x="108" y="74"/>
                  </a:cubicBezTo>
                  <a:close/>
                </a:path>
              </a:pathLst>
            </a:custGeom>
            <a:solidFill>
              <a:srgbClr val="A8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6" name="íṧliḋê"/>
            <p:cNvSpPr/>
            <p:nvPr/>
          </p:nvSpPr>
          <p:spPr bwMode="auto">
            <a:xfrm>
              <a:off x="4937483" y="4500313"/>
              <a:ext cx="2096185" cy="832105"/>
            </a:xfrm>
            <a:custGeom>
              <a:avLst/>
              <a:gdLst>
                <a:gd name="T0" fmla="*/ 496 w 552"/>
                <a:gd name="T1" fmla="*/ 99 h 219"/>
                <a:gd name="T2" fmla="*/ 504 w 552"/>
                <a:gd name="T3" fmla="*/ 96 h 219"/>
                <a:gd name="T4" fmla="*/ 517 w 552"/>
                <a:gd name="T5" fmla="*/ 91 h 219"/>
                <a:gd name="T6" fmla="*/ 524 w 552"/>
                <a:gd name="T7" fmla="*/ 88 h 219"/>
                <a:gd name="T8" fmla="*/ 533 w 552"/>
                <a:gd name="T9" fmla="*/ 84 h 219"/>
                <a:gd name="T10" fmla="*/ 538 w 552"/>
                <a:gd name="T11" fmla="*/ 81 h 219"/>
                <a:gd name="T12" fmla="*/ 542 w 552"/>
                <a:gd name="T13" fmla="*/ 79 h 219"/>
                <a:gd name="T14" fmla="*/ 548 w 552"/>
                <a:gd name="T15" fmla="*/ 76 h 219"/>
                <a:gd name="T16" fmla="*/ 540 w 552"/>
                <a:gd name="T17" fmla="*/ 2 h 219"/>
                <a:gd name="T18" fmla="*/ 534 w 552"/>
                <a:gd name="T19" fmla="*/ 5 h 219"/>
                <a:gd name="T20" fmla="*/ 529 w 552"/>
                <a:gd name="T21" fmla="*/ 7 h 219"/>
                <a:gd name="T22" fmla="*/ 515 w 552"/>
                <a:gd name="T23" fmla="*/ 14 h 219"/>
                <a:gd name="T24" fmla="*/ 508 w 552"/>
                <a:gd name="T25" fmla="*/ 17 h 219"/>
                <a:gd name="T26" fmla="*/ 496 w 552"/>
                <a:gd name="T27" fmla="*/ 22 h 219"/>
                <a:gd name="T28" fmla="*/ 488 w 552"/>
                <a:gd name="T29" fmla="*/ 25 h 219"/>
                <a:gd name="T30" fmla="*/ 473 w 552"/>
                <a:gd name="T31" fmla="*/ 31 h 219"/>
                <a:gd name="T32" fmla="*/ 463 w 552"/>
                <a:gd name="T33" fmla="*/ 34 h 219"/>
                <a:gd name="T34" fmla="*/ 445 w 552"/>
                <a:gd name="T35" fmla="*/ 40 h 219"/>
                <a:gd name="T36" fmla="*/ 432 w 552"/>
                <a:gd name="T37" fmla="*/ 45 h 219"/>
                <a:gd name="T38" fmla="*/ 411 w 552"/>
                <a:gd name="T39" fmla="*/ 52 h 219"/>
                <a:gd name="T40" fmla="*/ 395 w 552"/>
                <a:gd name="T41" fmla="*/ 56 h 219"/>
                <a:gd name="T42" fmla="*/ 371 w 552"/>
                <a:gd name="T43" fmla="*/ 64 h 219"/>
                <a:gd name="T44" fmla="*/ 353 w 552"/>
                <a:gd name="T45" fmla="*/ 69 h 219"/>
                <a:gd name="T46" fmla="*/ 324 w 552"/>
                <a:gd name="T47" fmla="*/ 77 h 219"/>
                <a:gd name="T48" fmla="*/ 304 w 552"/>
                <a:gd name="T49" fmla="*/ 82 h 219"/>
                <a:gd name="T50" fmla="*/ 272 w 552"/>
                <a:gd name="T51" fmla="*/ 90 h 219"/>
                <a:gd name="T52" fmla="*/ 250 w 552"/>
                <a:gd name="T53" fmla="*/ 96 h 219"/>
                <a:gd name="T54" fmla="*/ 215 w 552"/>
                <a:gd name="T55" fmla="*/ 104 h 219"/>
                <a:gd name="T56" fmla="*/ 184 w 552"/>
                <a:gd name="T57" fmla="*/ 111 h 219"/>
                <a:gd name="T58" fmla="*/ 147 w 552"/>
                <a:gd name="T59" fmla="*/ 118 h 219"/>
                <a:gd name="T60" fmla="*/ 85 w 552"/>
                <a:gd name="T61" fmla="*/ 130 h 219"/>
                <a:gd name="T62" fmla="*/ 35 w 552"/>
                <a:gd name="T63" fmla="*/ 139 h 219"/>
                <a:gd name="T64" fmla="*/ 9 w 552"/>
                <a:gd name="T65" fmla="*/ 219 h 219"/>
                <a:gd name="T66" fmla="*/ 61 w 552"/>
                <a:gd name="T67" fmla="*/ 210 h 219"/>
                <a:gd name="T68" fmla="*/ 92 w 552"/>
                <a:gd name="T69" fmla="*/ 204 h 219"/>
                <a:gd name="T70" fmla="*/ 157 w 552"/>
                <a:gd name="T71" fmla="*/ 192 h 219"/>
                <a:gd name="T72" fmla="*/ 198 w 552"/>
                <a:gd name="T73" fmla="*/ 184 h 219"/>
                <a:gd name="T74" fmla="*/ 241 w 552"/>
                <a:gd name="T75" fmla="*/ 174 h 219"/>
                <a:gd name="T76" fmla="*/ 262 w 552"/>
                <a:gd name="T77" fmla="*/ 169 h 219"/>
                <a:gd name="T78" fmla="*/ 297 w 552"/>
                <a:gd name="T79" fmla="*/ 160 h 219"/>
                <a:gd name="T80" fmla="*/ 314 w 552"/>
                <a:gd name="T81" fmla="*/ 156 h 219"/>
                <a:gd name="T82" fmla="*/ 350 w 552"/>
                <a:gd name="T83" fmla="*/ 146 h 219"/>
                <a:gd name="T84" fmla="*/ 377 w 552"/>
                <a:gd name="T85" fmla="*/ 138 h 219"/>
                <a:gd name="T86" fmla="*/ 392 w 552"/>
                <a:gd name="T87" fmla="*/ 134 h 219"/>
                <a:gd name="T88" fmla="*/ 417 w 552"/>
                <a:gd name="T89" fmla="*/ 127 h 219"/>
                <a:gd name="T90" fmla="*/ 442 w 552"/>
                <a:gd name="T91" fmla="*/ 118 h 219"/>
                <a:gd name="T92" fmla="*/ 462 w 552"/>
                <a:gd name="T93" fmla="*/ 112 h 219"/>
                <a:gd name="T94" fmla="*/ 471 w 552"/>
                <a:gd name="T95" fmla="*/ 108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52" h="219">
                  <a:moveTo>
                    <a:pt x="480" y="105"/>
                  </a:moveTo>
                  <a:cubicBezTo>
                    <a:pt x="480" y="105"/>
                    <a:pt x="481" y="105"/>
                    <a:pt x="481" y="105"/>
                  </a:cubicBezTo>
                  <a:cubicBezTo>
                    <a:pt x="486" y="103"/>
                    <a:pt x="491" y="101"/>
                    <a:pt x="496" y="99"/>
                  </a:cubicBezTo>
                  <a:cubicBezTo>
                    <a:pt x="497" y="99"/>
                    <a:pt x="497" y="99"/>
                    <a:pt x="497" y="99"/>
                  </a:cubicBezTo>
                  <a:cubicBezTo>
                    <a:pt x="500" y="98"/>
                    <a:pt x="502" y="97"/>
                    <a:pt x="504" y="96"/>
                  </a:cubicBezTo>
                  <a:cubicBezTo>
                    <a:pt x="504" y="96"/>
                    <a:pt x="504" y="96"/>
                    <a:pt x="504" y="96"/>
                  </a:cubicBezTo>
                  <a:cubicBezTo>
                    <a:pt x="506" y="95"/>
                    <a:pt x="509" y="94"/>
                    <a:pt x="511" y="93"/>
                  </a:cubicBezTo>
                  <a:cubicBezTo>
                    <a:pt x="511" y="93"/>
                    <a:pt x="511" y="93"/>
                    <a:pt x="512" y="93"/>
                  </a:cubicBezTo>
                  <a:cubicBezTo>
                    <a:pt x="513" y="92"/>
                    <a:pt x="515" y="92"/>
                    <a:pt x="517" y="91"/>
                  </a:cubicBezTo>
                  <a:cubicBezTo>
                    <a:pt x="517" y="91"/>
                    <a:pt x="517" y="91"/>
                    <a:pt x="518" y="90"/>
                  </a:cubicBezTo>
                  <a:cubicBezTo>
                    <a:pt x="519" y="90"/>
                    <a:pt x="521" y="89"/>
                    <a:pt x="523" y="88"/>
                  </a:cubicBezTo>
                  <a:cubicBezTo>
                    <a:pt x="523" y="88"/>
                    <a:pt x="523" y="88"/>
                    <a:pt x="524" y="88"/>
                  </a:cubicBezTo>
                  <a:cubicBezTo>
                    <a:pt x="525" y="87"/>
                    <a:pt x="526" y="87"/>
                    <a:pt x="528" y="86"/>
                  </a:cubicBezTo>
                  <a:cubicBezTo>
                    <a:pt x="528" y="86"/>
                    <a:pt x="529" y="86"/>
                    <a:pt x="529" y="85"/>
                  </a:cubicBezTo>
                  <a:cubicBezTo>
                    <a:pt x="530" y="85"/>
                    <a:pt x="532" y="84"/>
                    <a:pt x="533" y="84"/>
                  </a:cubicBezTo>
                  <a:cubicBezTo>
                    <a:pt x="533" y="84"/>
                    <a:pt x="533" y="83"/>
                    <a:pt x="533" y="83"/>
                  </a:cubicBezTo>
                  <a:cubicBezTo>
                    <a:pt x="535" y="83"/>
                    <a:pt x="536" y="82"/>
                    <a:pt x="537" y="82"/>
                  </a:cubicBezTo>
                  <a:cubicBezTo>
                    <a:pt x="538" y="81"/>
                    <a:pt x="538" y="81"/>
                    <a:pt x="538" y="81"/>
                  </a:cubicBezTo>
                  <a:cubicBezTo>
                    <a:pt x="539" y="81"/>
                    <a:pt x="541" y="80"/>
                    <a:pt x="542" y="80"/>
                  </a:cubicBezTo>
                  <a:cubicBezTo>
                    <a:pt x="542" y="79"/>
                    <a:pt x="542" y="79"/>
                    <a:pt x="542" y="79"/>
                  </a:cubicBezTo>
                  <a:cubicBezTo>
                    <a:pt x="542" y="79"/>
                    <a:pt x="542" y="79"/>
                    <a:pt x="542" y="79"/>
                  </a:cubicBezTo>
                  <a:cubicBezTo>
                    <a:pt x="543" y="79"/>
                    <a:pt x="543" y="79"/>
                    <a:pt x="543" y="79"/>
                  </a:cubicBezTo>
                  <a:cubicBezTo>
                    <a:pt x="544" y="78"/>
                    <a:pt x="546" y="78"/>
                    <a:pt x="547" y="77"/>
                  </a:cubicBezTo>
                  <a:cubicBezTo>
                    <a:pt x="547" y="77"/>
                    <a:pt x="548" y="76"/>
                    <a:pt x="548" y="76"/>
                  </a:cubicBezTo>
                  <a:cubicBezTo>
                    <a:pt x="549" y="76"/>
                    <a:pt x="551" y="75"/>
                    <a:pt x="552" y="74"/>
                  </a:cubicBezTo>
                  <a:cubicBezTo>
                    <a:pt x="543" y="0"/>
                    <a:pt x="543" y="0"/>
                    <a:pt x="543" y="0"/>
                  </a:cubicBezTo>
                  <a:cubicBezTo>
                    <a:pt x="542" y="1"/>
                    <a:pt x="541" y="1"/>
                    <a:pt x="540" y="2"/>
                  </a:cubicBezTo>
                  <a:cubicBezTo>
                    <a:pt x="539" y="2"/>
                    <a:pt x="539" y="2"/>
                    <a:pt x="538" y="3"/>
                  </a:cubicBezTo>
                  <a:cubicBezTo>
                    <a:pt x="537" y="3"/>
                    <a:pt x="536" y="4"/>
                    <a:pt x="535" y="5"/>
                  </a:cubicBezTo>
                  <a:cubicBezTo>
                    <a:pt x="534" y="5"/>
                    <a:pt x="534" y="5"/>
                    <a:pt x="534" y="5"/>
                  </a:cubicBezTo>
                  <a:cubicBezTo>
                    <a:pt x="534" y="5"/>
                    <a:pt x="533" y="5"/>
                    <a:pt x="533" y="5"/>
                  </a:cubicBezTo>
                  <a:cubicBezTo>
                    <a:pt x="532" y="6"/>
                    <a:pt x="531" y="6"/>
                    <a:pt x="530" y="7"/>
                  </a:cubicBezTo>
                  <a:cubicBezTo>
                    <a:pt x="530" y="7"/>
                    <a:pt x="529" y="7"/>
                    <a:pt x="529" y="7"/>
                  </a:cubicBezTo>
                  <a:cubicBezTo>
                    <a:pt x="527" y="9"/>
                    <a:pt x="524" y="10"/>
                    <a:pt x="521" y="11"/>
                  </a:cubicBezTo>
                  <a:cubicBezTo>
                    <a:pt x="520" y="11"/>
                    <a:pt x="520" y="12"/>
                    <a:pt x="519" y="12"/>
                  </a:cubicBezTo>
                  <a:cubicBezTo>
                    <a:pt x="518" y="12"/>
                    <a:pt x="517" y="13"/>
                    <a:pt x="515" y="14"/>
                  </a:cubicBezTo>
                  <a:cubicBezTo>
                    <a:pt x="515" y="14"/>
                    <a:pt x="515" y="14"/>
                    <a:pt x="515" y="14"/>
                  </a:cubicBezTo>
                  <a:cubicBezTo>
                    <a:pt x="513" y="15"/>
                    <a:pt x="511" y="16"/>
                    <a:pt x="509" y="16"/>
                  </a:cubicBezTo>
                  <a:cubicBezTo>
                    <a:pt x="509" y="16"/>
                    <a:pt x="508" y="17"/>
                    <a:pt x="508" y="17"/>
                  </a:cubicBezTo>
                  <a:cubicBezTo>
                    <a:pt x="507" y="17"/>
                    <a:pt x="505" y="18"/>
                    <a:pt x="503" y="19"/>
                  </a:cubicBezTo>
                  <a:cubicBezTo>
                    <a:pt x="503" y="19"/>
                    <a:pt x="503" y="19"/>
                    <a:pt x="502" y="19"/>
                  </a:cubicBezTo>
                  <a:cubicBezTo>
                    <a:pt x="500" y="20"/>
                    <a:pt x="498" y="21"/>
                    <a:pt x="496" y="22"/>
                  </a:cubicBezTo>
                  <a:cubicBezTo>
                    <a:pt x="496" y="22"/>
                    <a:pt x="495" y="22"/>
                    <a:pt x="495" y="22"/>
                  </a:cubicBezTo>
                  <a:cubicBezTo>
                    <a:pt x="493" y="23"/>
                    <a:pt x="491" y="24"/>
                    <a:pt x="489" y="24"/>
                  </a:cubicBezTo>
                  <a:cubicBezTo>
                    <a:pt x="489" y="25"/>
                    <a:pt x="488" y="25"/>
                    <a:pt x="488" y="25"/>
                  </a:cubicBezTo>
                  <a:cubicBezTo>
                    <a:pt x="485" y="26"/>
                    <a:pt x="483" y="27"/>
                    <a:pt x="481" y="28"/>
                  </a:cubicBezTo>
                  <a:cubicBezTo>
                    <a:pt x="481" y="28"/>
                    <a:pt x="481" y="28"/>
                    <a:pt x="480" y="28"/>
                  </a:cubicBezTo>
                  <a:cubicBezTo>
                    <a:pt x="478" y="29"/>
                    <a:pt x="476" y="30"/>
                    <a:pt x="473" y="31"/>
                  </a:cubicBezTo>
                  <a:cubicBezTo>
                    <a:pt x="472" y="31"/>
                    <a:pt x="472" y="31"/>
                    <a:pt x="471" y="31"/>
                  </a:cubicBezTo>
                  <a:cubicBezTo>
                    <a:pt x="469" y="32"/>
                    <a:pt x="467" y="33"/>
                    <a:pt x="464" y="34"/>
                  </a:cubicBezTo>
                  <a:cubicBezTo>
                    <a:pt x="464" y="34"/>
                    <a:pt x="463" y="34"/>
                    <a:pt x="463" y="34"/>
                  </a:cubicBezTo>
                  <a:cubicBezTo>
                    <a:pt x="460" y="35"/>
                    <a:pt x="457" y="36"/>
                    <a:pt x="454" y="37"/>
                  </a:cubicBezTo>
                  <a:cubicBezTo>
                    <a:pt x="453" y="38"/>
                    <a:pt x="453" y="38"/>
                    <a:pt x="452" y="38"/>
                  </a:cubicBezTo>
                  <a:cubicBezTo>
                    <a:pt x="450" y="39"/>
                    <a:pt x="447" y="40"/>
                    <a:pt x="445" y="40"/>
                  </a:cubicBezTo>
                  <a:cubicBezTo>
                    <a:pt x="444" y="41"/>
                    <a:pt x="443" y="41"/>
                    <a:pt x="442" y="42"/>
                  </a:cubicBezTo>
                  <a:cubicBezTo>
                    <a:pt x="440" y="42"/>
                    <a:pt x="437" y="43"/>
                    <a:pt x="435" y="44"/>
                  </a:cubicBezTo>
                  <a:cubicBezTo>
                    <a:pt x="434" y="44"/>
                    <a:pt x="433" y="45"/>
                    <a:pt x="432" y="45"/>
                  </a:cubicBezTo>
                  <a:cubicBezTo>
                    <a:pt x="429" y="46"/>
                    <a:pt x="425" y="47"/>
                    <a:pt x="422" y="48"/>
                  </a:cubicBezTo>
                  <a:cubicBezTo>
                    <a:pt x="422" y="48"/>
                    <a:pt x="421" y="48"/>
                    <a:pt x="421" y="48"/>
                  </a:cubicBezTo>
                  <a:cubicBezTo>
                    <a:pt x="418" y="49"/>
                    <a:pt x="414" y="51"/>
                    <a:pt x="411" y="52"/>
                  </a:cubicBezTo>
                  <a:cubicBezTo>
                    <a:pt x="410" y="52"/>
                    <a:pt x="408" y="52"/>
                    <a:pt x="407" y="53"/>
                  </a:cubicBezTo>
                  <a:cubicBezTo>
                    <a:pt x="405" y="54"/>
                    <a:pt x="402" y="54"/>
                    <a:pt x="399" y="55"/>
                  </a:cubicBezTo>
                  <a:cubicBezTo>
                    <a:pt x="398" y="56"/>
                    <a:pt x="397" y="56"/>
                    <a:pt x="395" y="56"/>
                  </a:cubicBezTo>
                  <a:cubicBezTo>
                    <a:pt x="392" y="57"/>
                    <a:pt x="389" y="58"/>
                    <a:pt x="386" y="59"/>
                  </a:cubicBezTo>
                  <a:cubicBezTo>
                    <a:pt x="385" y="59"/>
                    <a:pt x="384" y="60"/>
                    <a:pt x="383" y="60"/>
                  </a:cubicBezTo>
                  <a:cubicBezTo>
                    <a:pt x="379" y="61"/>
                    <a:pt x="375" y="62"/>
                    <a:pt x="371" y="64"/>
                  </a:cubicBezTo>
                  <a:cubicBezTo>
                    <a:pt x="370" y="64"/>
                    <a:pt x="368" y="64"/>
                    <a:pt x="367" y="65"/>
                  </a:cubicBezTo>
                  <a:cubicBezTo>
                    <a:pt x="364" y="66"/>
                    <a:pt x="361" y="67"/>
                    <a:pt x="358" y="67"/>
                  </a:cubicBezTo>
                  <a:cubicBezTo>
                    <a:pt x="356" y="68"/>
                    <a:pt x="354" y="68"/>
                    <a:pt x="353" y="69"/>
                  </a:cubicBezTo>
                  <a:cubicBezTo>
                    <a:pt x="350" y="70"/>
                    <a:pt x="346" y="71"/>
                    <a:pt x="343" y="72"/>
                  </a:cubicBezTo>
                  <a:cubicBezTo>
                    <a:pt x="342" y="72"/>
                    <a:pt x="340" y="72"/>
                    <a:pt x="339" y="73"/>
                  </a:cubicBezTo>
                  <a:cubicBezTo>
                    <a:pt x="334" y="74"/>
                    <a:pt x="329" y="75"/>
                    <a:pt x="324" y="77"/>
                  </a:cubicBezTo>
                  <a:cubicBezTo>
                    <a:pt x="323" y="77"/>
                    <a:pt x="323" y="77"/>
                    <a:pt x="322" y="77"/>
                  </a:cubicBezTo>
                  <a:cubicBezTo>
                    <a:pt x="318" y="79"/>
                    <a:pt x="313" y="80"/>
                    <a:pt x="309" y="81"/>
                  </a:cubicBezTo>
                  <a:cubicBezTo>
                    <a:pt x="307" y="81"/>
                    <a:pt x="306" y="82"/>
                    <a:pt x="304" y="82"/>
                  </a:cubicBezTo>
                  <a:cubicBezTo>
                    <a:pt x="300" y="83"/>
                    <a:pt x="296" y="84"/>
                    <a:pt x="292" y="85"/>
                  </a:cubicBezTo>
                  <a:cubicBezTo>
                    <a:pt x="291" y="85"/>
                    <a:pt x="289" y="86"/>
                    <a:pt x="288" y="86"/>
                  </a:cubicBezTo>
                  <a:cubicBezTo>
                    <a:pt x="283" y="88"/>
                    <a:pt x="278" y="89"/>
                    <a:pt x="272" y="90"/>
                  </a:cubicBezTo>
                  <a:cubicBezTo>
                    <a:pt x="271" y="91"/>
                    <a:pt x="270" y="91"/>
                    <a:pt x="268" y="91"/>
                  </a:cubicBezTo>
                  <a:cubicBezTo>
                    <a:pt x="264" y="92"/>
                    <a:pt x="260" y="93"/>
                    <a:pt x="255" y="94"/>
                  </a:cubicBezTo>
                  <a:cubicBezTo>
                    <a:pt x="254" y="95"/>
                    <a:pt x="252" y="95"/>
                    <a:pt x="250" y="96"/>
                  </a:cubicBezTo>
                  <a:cubicBezTo>
                    <a:pt x="244" y="97"/>
                    <a:pt x="239" y="98"/>
                    <a:pt x="233" y="100"/>
                  </a:cubicBezTo>
                  <a:cubicBezTo>
                    <a:pt x="232" y="100"/>
                    <a:pt x="231" y="100"/>
                    <a:pt x="229" y="101"/>
                  </a:cubicBezTo>
                  <a:cubicBezTo>
                    <a:pt x="225" y="102"/>
                    <a:pt x="220" y="103"/>
                    <a:pt x="215" y="104"/>
                  </a:cubicBezTo>
                  <a:cubicBezTo>
                    <a:pt x="213" y="105"/>
                    <a:pt x="211" y="105"/>
                    <a:pt x="209" y="106"/>
                  </a:cubicBezTo>
                  <a:cubicBezTo>
                    <a:pt x="203" y="107"/>
                    <a:pt x="196" y="108"/>
                    <a:pt x="190" y="110"/>
                  </a:cubicBezTo>
                  <a:cubicBezTo>
                    <a:pt x="188" y="110"/>
                    <a:pt x="186" y="111"/>
                    <a:pt x="184" y="111"/>
                  </a:cubicBezTo>
                  <a:cubicBezTo>
                    <a:pt x="182" y="111"/>
                    <a:pt x="180" y="112"/>
                    <a:pt x="178" y="112"/>
                  </a:cubicBezTo>
                  <a:cubicBezTo>
                    <a:pt x="171" y="113"/>
                    <a:pt x="164" y="115"/>
                    <a:pt x="157" y="116"/>
                  </a:cubicBezTo>
                  <a:cubicBezTo>
                    <a:pt x="154" y="117"/>
                    <a:pt x="150" y="117"/>
                    <a:pt x="147" y="118"/>
                  </a:cubicBezTo>
                  <a:cubicBezTo>
                    <a:pt x="140" y="119"/>
                    <a:pt x="132" y="121"/>
                    <a:pt x="125" y="122"/>
                  </a:cubicBezTo>
                  <a:cubicBezTo>
                    <a:pt x="114" y="124"/>
                    <a:pt x="103" y="126"/>
                    <a:pt x="92" y="129"/>
                  </a:cubicBezTo>
                  <a:cubicBezTo>
                    <a:pt x="90" y="129"/>
                    <a:pt x="87" y="129"/>
                    <a:pt x="85" y="130"/>
                  </a:cubicBezTo>
                  <a:cubicBezTo>
                    <a:pt x="77" y="131"/>
                    <a:pt x="69" y="133"/>
                    <a:pt x="62" y="134"/>
                  </a:cubicBezTo>
                  <a:cubicBezTo>
                    <a:pt x="59" y="135"/>
                    <a:pt x="56" y="135"/>
                    <a:pt x="53" y="136"/>
                  </a:cubicBezTo>
                  <a:cubicBezTo>
                    <a:pt x="47" y="137"/>
                    <a:pt x="41" y="138"/>
                    <a:pt x="35" y="139"/>
                  </a:cubicBezTo>
                  <a:cubicBezTo>
                    <a:pt x="32" y="139"/>
                    <a:pt x="30" y="140"/>
                    <a:pt x="27" y="140"/>
                  </a:cubicBezTo>
                  <a:cubicBezTo>
                    <a:pt x="18" y="142"/>
                    <a:pt x="9" y="143"/>
                    <a:pt x="0" y="145"/>
                  </a:cubicBezTo>
                  <a:cubicBezTo>
                    <a:pt x="9" y="219"/>
                    <a:pt x="9" y="219"/>
                    <a:pt x="9" y="219"/>
                  </a:cubicBezTo>
                  <a:cubicBezTo>
                    <a:pt x="18" y="218"/>
                    <a:pt x="26" y="216"/>
                    <a:pt x="35" y="215"/>
                  </a:cubicBezTo>
                  <a:cubicBezTo>
                    <a:pt x="38" y="214"/>
                    <a:pt x="41" y="214"/>
                    <a:pt x="44" y="213"/>
                  </a:cubicBezTo>
                  <a:cubicBezTo>
                    <a:pt x="50" y="212"/>
                    <a:pt x="55" y="211"/>
                    <a:pt x="61" y="210"/>
                  </a:cubicBezTo>
                  <a:cubicBezTo>
                    <a:pt x="62" y="210"/>
                    <a:pt x="63" y="210"/>
                    <a:pt x="64" y="210"/>
                  </a:cubicBezTo>
                  <a:cubicBezTo>
                    <a:pt x="66" y="209"/>
                    <a:pt x="68" y="209"/>
                    <a:pt x="70" y="208"/>
                  </a:cubicBezTo>
                  <a:cubicBezTo>
                    <a:pt x="78" y="207"/>
                    <a:pt x="85" y="206"/>
                    <a:pt x="92" y="204"/>
                  </a:cubicBezTo>
                  <a:cubicBezTo>
                    <a:pt x="95" y="204"/>
                    <a:pt x="98" y="203"/>
                    <a:pt x="101" y="203"/>
                  </a:cubicBezTo>
                  <a:cubicBezTo>
                    <a:pt x="110" y="201"/>
                    <a:pt x="118" y="199"/>
                    <a:pt x="127" y="198"/>
                  </a:cubicBezTo>
                  <a:cubicBezTo>
                    <a:pt x="137" y="196"/>
                    <a:pt x="147" y="194"/>
                    <a:pt x="157" y="192"/>
                  </a:cubicBezTo>
                  <a:cubicBezTo>
                    <a:pt x="159" y="191"/>
                    <a:pt x="162" y="191"/>
                    <a:pt x="164" y="190"/>
                  </a:cubicBezTo>
                  <a:cubicBezTo>
                    <a:pt x="172" y="189"/>
                    <a:pt x="179" y="188"/>
                    <a:pt x="187" y="186"/>
                  </a:cubicBezTo>
                  <a:cubicBezTo>
                    <a:pt x="191" y="186"/>
                    <a:pt x="195" y="185"/>
                    <a:pt x="198" y="184"/>
                  </a:cubicBezTo>
                  <a:cubicBezTo>
                    <a:pt x="205" y="183"/>
                    <a:pt x="212" y="181"/>
                    <a:pt x="218" y="180"/>
                  </a:cubicBezTo>
                  <a:cubicBezTo>
                    <a:pt x="219" y="179"/>
                    <a:pt x="221" y="179"/>
                    <a:pt x="222" y="179"/>
                  </a:cubicBezTo>
                  <a:cubicBezTo>
                    <a:pt x="228" y="177"/>
                    <a:pt x="235" y="176"/>
                    <a:pt x="241" y="174"/>
                  </a:cubicBezTo>
                  <a:cubicBezTo>
                    <a:pt x="241" y="174"/>
                    <a:pt x="241" y="174"/>
                    <a:pt x="241" y="174"/>
                  </a:cubicBezTo>
                  <a:cubicBezTo>
                    <a:pt x="247" y="173"/>
                    <a:pt x="253" y="171"/>
                    <a:pt x="259" y="170"/>
                  </a:cubicBezTo>
                  <a:cubicBezTo>
                    <a:pt x="260" y="169"/>
                    <a:pt x="261" y="169"/>
                    <a:pt x="262" y="169"/>
                  </a:cubicBezTo>
                  <a:cubicBezTo>
                    <a:pt x="268" y="168"/>
                    <a:pt x="273" y="166"/>
                    <a:pt x="279" y="165"/>
                  </a:cubicBezTo>
                  <a:cubicBezTo>
                    <a:pt x="279" y="165"/>
                    <a:pt x="280" y="165"/>
                    <a:pt x="280" y="165"/>
                  </a:cubicBezTo>
                  <a:cubicBezTo>
                    <a:pt x="286" y="163"/>
                    <a:pt x="292" y="162"/>
                    <a:pt x="297" y="160"/>
                  </a:cubicBezTo>
                  <a:cubicBezTo>
                    <a:pt x="298" y="160"/>
                    <a:pt x="298" y="160"/>
                    <a:pt x="299" y="160"/>
                  </a:cubicBezTo>
                  <a:cubicBezTo>
                    <a:pt x="301" y="159"/>
                    <a:pt x="304" y="158"/>
                    <a:pt x="307" y="158"/>
                  </a:cubicBezTo>
                  <a:cubicBezTo>
                    <a:pt x="309" y="157"/>
                    <a:pt x="312" y="156"/>
                    <a:pt x="314" y="156"/>
                  </a:cubicBezTo>
                  <a:cubicBezTo>
                    <a:pt x="315" y="156"/>
                    <a:pt x="316" y="155"/>
                    <a:pt x="316" y="155"/>
                  </a:cubicBezTo>
                  <a:cubicBezTo>
                    <a:pt x="327" y="152"/>
                    <a:pt x="338" y="150"/>
                    <a:pt x="348" y="147"/>
                  </a:cubicBezTo>
                  <a:cubicBezTo>
                    <a:pt x="348" y="147"/>
                    <a:pt x="349" y="146"/>
                    <a:pt x="350" y="146"/>
                  </a:cubicBezTo>
                  <a:cubicBezTo>
                    <a:pt x="354" y="145"/>
                    <a:pt x="358" y="144"/>
                    <a:pt x="362" y="143"/>
                  </a:cubicBezTo>
                  <a:cubicBezTo>
                    <a:pt x="363" y="142"/>
                    <a:pt x="364" y="142"/>
                    <a:pt x="365" y="142"/>
                  </a:cubicBezTo>
                  <a:cubicBezTo>
                    <a:pt x="369" y="141"/>
                    <a:pt x="373" y="140"/>
                    <a:pt x="377" y="138"/>
                  </a:cubicBezTo>
                  <a:cubicBezTo>
                    <a:pt x="378" y="138"/>
                    <a:pt x="378" y="138"/>
                    <a:pt x="379" y="138"/>
                  </a:cubicBezTo>
                  <a:cubicBezTo>
                    <a:pt x="383" y="137"/>
                    <a:pt x="388" y="135"/>
                    <a:pt x="392" y="134"/>
                  </a:cubicBezTo>
                  <a:cubicBezTo>
                    <a:pt x="392" y="134"/>
                    <a:pt x="392" y="134"/>
                    <a:pt x="392" y="134"/>
                  </a:cubicBezTo>
                  <a:cubicBezTo>
                    <a:pt x="396" y="133"/>
                    <a:pt x="400" y="132"/>
                    <a:pt x="404" y="130"/>
                  </a:cubicBezTo>
                  <a:cubicBezTo>
                    <a:pt x="405" y="130"/>
                    <a:pt x="406" y="130"/>
                    <a:pt x="407" y="130"/>
                  </a:cubicBezTo>
                  <a:cubicBezTo>
                    <a:pt x="410" y="129"/>
                    <a:pt x="413" y="128"/>
                    <a:pt x="417" y="127"/>
                  </a:cubicBezTo>
                  <a:cubicBezTo>
                    <a:pt x="417" y="126"/>
                    <a:pt x="418" y="126"/>
                    <a:pt x="419" y="126"/>
                  </a:cubicBezTo>
                  <a:cubicBezTo>
                    <a:pt x="426" y="124"/>
                    <a:pt x="434" y="121"/>
                    <a:pt x="441" y="119"/>
                  </a:cubicBezTo>
                  <a:cubicBezTo>
                    <a:pt x="441" y="119"/>
                    <a:pt x="442" y="118"/>
                    <a:pt x="442" y="118"/>
                  </a:cubicBezTo>
                  <a:cubicBezTo>
                    <a:pt x="445" y="117"/>
                    <a:pt x="448" y="116"/>
                    <a:pt x="451" y="115"/>
                  </a:cubicBezTo>
                  <a:cubicBezTo>
                    <a:pt x="452" y="115"/>
                    <a:pt x="452" y="115"/>
                    <a:pt x="453" y="115"/>
                  </a:cubicBezTo>
                  <a:cubicBezTo>
                    <a:pt x="456" y="114"/>
                    <a:pt x="459" y="113"/>
                    <a:pt x="462" y="112"/>
                  </a:cubicBezTo>
                  <a:cubicBezTo>
                    <a:pt x="462" y="112"/>
                    <a:pt x="462" y="112"/>
                    <a:pt x="462" y="112"/>
                  </a:cubicBezTo>
                  <a:cubicBezTo>
                    <a:pt x="465" y="111"/>
                    <a:pt x="468" y="110"/>
                    <a:pt x="470" y="109"/>
                  </a:cubicBezTo>
                  <a:cubicBezTo>
                    <a:pt x="471" y="109"/>
                    <a:pt x="471" y="108"/>
                    <a:pt x="471" y="108"/>
                  </a:cubicBezTo>
                  <a:cubicBezTo>
                    <a:pt x="472" y="108"/>
                    <a:pt x="472" y="108"/>
                    <a:pt x="472" y="108"/>
                  </a:cubicBezTo>
                  <a:cubicBezTo>
                    <a:pt x="475" y="107"/>
                    <a:pt x="477" y="106"/>
                    <a:pt x="480" y="105"/>
                  </a:cubicBezTo>
                  <a:close/>
                </a:path>
              </a:pathLst>
            </a:custGeom>
            <a:solidFill>
              <a:srgbClr val="97151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7" name="ísḷíde"/>
            <p:cNvSpPr/>
            <p:nvPr/>
          </p:nvSpPr>
          <p:spPr bwMode="auto">
            <a:xfrm>
              <a:off x="4937483" y="3583751"/>
              <a:ext cx="2440935" cy="1475914"/>
            </a:xfrm>
            <a:custGeom>
              <a:avLst/>
              <a:gdLst>
                <a:gd name="T0" fmla="*/ 643 w 643"/>
                <a:gd name="T1" fmla="*/ 98 h 388"/>
                <a:gd name="T2" fmla="*/ 543 w 643"/>
                <a:gd name="T3" fmla="*/ 243 h 388"/>
                <a:gd name="T4" fmla="*/ 190 w 643"/>
                <a:gd name="T5" fmla="*/ 353 h 388"/>
                <a:gd name="T6" fmla="*/ 0 w 643"/>
                <a:gd name="T7" fmla="*/ 388 h 388"/>
                <a:gd name="T8" fmla="*/ 266 w 643"/>
                <a:gd name="T9" fmla="*/ 0 h 388"/>
                <a:gd name="T10" fmla="*/ 643 w 643"/>
                <a:gd name="T11" fmla="*/ 9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3" h="388">
                  <a:moveTo>
                    <a:pt x="643" y="98"/>
                  </a:moveTo>
                  <a:cubicBezTo>
                    <a:pt x="543" y="243"/>
                    <a:pt x="543" y="243"/>
                    <a:pt x="543" y="243"/>
                  </a:cubicBezTo>
                  <a:cubicBezTo>
                    <a:pt x="514" y="259"/>
                    <a:pt x="424" y="299"/>
                    <a:pt x="190" y="353"/>
                  </a:cubicBezTo>
                  <a:cubicBezTo>
                    <a:pt x="129" y="364"/>
                    <a:pt x="65" y="378"/>
                    <a:pt x="0" y="388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643" y="98"/>
                    <a:pt x="643" y="98"/>
                    <a:pt x="643" y="98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endParaRPr lang="id-ID" dirty="0">
                <a:ea typeface="阿里巴巴普惠体" panose="00020600040101010101" pitchFamily="18" charset="-122"/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 flipV="1">
              <a:off x="7251849" y="2318285"/>
              <a:ext cx="489691" cy="489691"/>
            </a:xfrm>
            <a:prstGeom prst="line">
              <a:avLst/>
            </a:prstGeom>
            <a:ln w="31750">
              <a:solidFill>
                <a:schemeClr val="bg1">
                  <a:lumMod val="8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/>
          </p:nvCxnSpPr>
          <p:spPr>
            <a:xfrm>
              <a:off x="7732015" y="2318162"/>
              <a:ext cx="363203" cy="0"/>
            </a:xfrm>
            <a:prstGeom prst="line">
              <a:avLst/>
            </a:prstGeom>
            <a:ln w="317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/>
          </p:nvCxnSpPr>
          <p:spPr>
            <a:xfrm flipH="1" flipV="1">
              <a:off x="4647649" y="2291746"/>
              <a:ext cx="440217" cy="440217"/>
            </a:xfrm>
            <a:prstGeom prst="line">
              <a:avLst/>
            </a:prstGeom>
            <a:ln w="31750">
              <a:solidFill>
                <a:schemeClr val="bg1">
                  <a:lumMod val="8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>
              <a:endCxn id="30" idx="6"/>
            </p:cNvCxnSpPr>
            <p:nvPr/>
          </p:nvCxnSpPr>
          <p:spPr>
            <a:xfrm flipH="1" flipV="1">
              <a:off x="4231601" y="2281933"/>
              <a:ext cx="428214" cy="14006"/>
            </a:xfrm>
            <a:prstGeom prst="line">
              <a:avLst/>
            </a:prstGeom>
            <a:ln w="317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/>
          </p:nvCxnSpPr>
          <p:spPr>
            <a:xfrm rot="10800000" flipH="1" flipV="1">
              <a:off x="6969285" y="4353602"/>
              <a:ext cx="581969" cy="581969"/>
            </a:xfrm>
            <a:prstGeom prst="line">
              <a:avLst/>
            </a:prstGeom>
            <a:ln w="31750">
              <a:solidFill>
                <a:srgbClr val="A80000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7544698" y="4921722"/>
              <a:ext cx="496747" cy="0"/>
            </a:xfrm>
            <a:prstGeom prst="line">
              <a:avLst/>
            </a:prstGeom>
            <a:ln w="31750">
              <a:solidFill>
                <a:srgbClr val="A8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 rot="10800000" flipV="1">
              <a:off x="4446464" y="4368777"/>
              <a:ext cx="581969" cy="581969"/>
            </a:xfrm>
            <a:prstGeom prst="line">
              <a:avLst/>
            </a:prstGeom>
            <a:ln w="31750">
              <a:solidFill>
                <a:schemeClr val="bg1">
                  <a:lumMod val="8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/>
          </p:nvCxnSpPr>
          <p:spPr>
            <a:xfrm flipH="1">
              <a:off x="3992238" y="4945204"/>
              <a:ext cx="462001" cy="0"/>
            </a:xfrm>
            <a:prstGeom prst="line">
              <a:avLst/>
            </a:prstGeom>
            <a:ln w="317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ïsľiďè"/>
            <p:cNvSpPr/>
            <p:nvPr/>
          </p:nvSpPr>
          <p:spPr>
            <a:xfrm>
              <a:off x="8104743" y="1931982"/>
              <a:ext cx="699901" cy="69990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tx1"/>
                  </a:solidFill>
                  <a:ea typeface="阿里巴巴普惠体" panose="00020600040101010101" pitchFamily="18" charset="-122"/>
                </a:rPr>
                <a:t>2</a:t>
              </a:r>
              <a:endParaRPr lang="id-ID" sz="2400" b="1" dirty="0">
                <a:solidFill>
                  <a:schemeClr val="tx1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27" name="íš1íḑê"/>
            <p:cNvSpPr/>
            <p:nvPr/>
          </p:nvSpPr>
          <p:spPr bwMode="auto">
            <a:xfrm>
              <a:off x="6770968" y="2809776"/>
              <a:ext cx="490790" cy="490046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8649" h="594741">
                  <a:moveTo>
                    <a:pt x="411175" y="315251"/>
                  </a:moveTo>
                  <a:cubicBezTo>
                    <a:pt x="392328" y="315251"/>
                    <a:pt x="373301" y="322420"/>
                    <a:pt x="358940" y="336757"/>
                  </a:cubicBezTo>
                  <a:cubicBezTo>
                    <a:pt x="330220" y="365432"/>
                    <a:pt x="330220" y="411311"/>
                    <a:pt x="358940" y="439986"/>
                  </a:cubicBezTo>
                  <a:cubicBezTo>
                    <a:pt x="387661" y="468660"/>
                    <a:pt x="435049" y="468660"/>
                    <a:pt x="462333" y="439986"/>
                  </a:cubicBezTo>
                  <a:cubicBezTo>
                    <a:pt x="491053" y="411311"/>
                    <a:pt x="491053" y="365432"/>
                    <a:pt x="462333" y="336757"/>
                  </a:cubicBezTo>
                  <a:cubicBezTo>
                    <a:pt x="448691" y="322420"/>
                    <a:pt x="430023" y="315251"/>
                    <a:pt x="411175" y="315251"/>
                  </a:cubicBezTo>
                  <a:close/>
                  <a:moveTo>
                    <a:pt x="410816" y="276182"/>
                  </a:moveTo>
                  <a:cubicBezTo>
                    <a:pt x="439716" y="276182"/>
                    <a:pt x="468795" y="287293"/>
                    <a:pt x="491053" y="309516"/>
                  </a:cubicBezTo>
                  <a:cubicBezTo>
                    <a:pt x="525517" y="342492"/>
                    <a:pt x="532697" y="394106"/>
                    <a:pt x="514029" y="435685"/>
                  </a:cubicBezTo>
                  <a:lnTo>
                    <a:pt x="578649" y="500203"/>
                  </a:lnTo>
                  <a:lnTo>
                    <a:pt x="522645" y="556118"/>
                  </a:lnTo>
                  <a:lnTo>
                    <a:pt x="458025" y="491600"/>
                  </a:lnTo>
                  <a:cubicBezTo>
                    <a:pt x="416381" y="510239"/>
                    <a:pt x="366121" y="503070"/>
                    <a:pt x="331656" y="468660"/>
                  </a:cubicBezTo>
                  <a:cubicBezTo>
                    <a:pt x="287140" y="424215"/>
                    <a:pt x="287140" y="352528"/>
                    <a:pt x="331656" y="309516"/>
                  </a:cubicBezTo>
                  <a:cubicBezTo>
                    <a:pt x="353197" y="287293"/>
                    <a:pt x="381917" y="276182"/>
                    <a:pt x="410816" y="276182"/>
                  </a:cubicBezTo>
                  <a:close/>
                  <a:moveTo>
                    <a:pt x="134949" y="20001"/>
                  </a:moveTo>
                  <a:lnTo>
                    <a:pt x="134949" y="144835"/>
                  </a:lnTo>
                  <a:lnTo>
                    <a:pt x="17242" y="144835"/>
                  </a:lnTo>
                  <a:close/>
                  <a:moveTo>
                    <a:pt x="172278" y="0"/>
                  </a:moveTo>
                  <a:lnTo>
                    <a:pt x="480943" y="0"/>
                  </a:lnTo>
                  <a:lnTo>
                    <a:pt x="480943" y="276591"/>
                  </a:lnTo>
                  <a:cubicBezTo>
                    <a:pt x="460844" y="263693"/>
                    <a:pt x="436438" y="256527"/>
                    <a:pt x="410596" y="256527"/>
                  </a:cubicBezTo>
                  <a:cubicBezTo>
                    <a:pt x="381883" y="256527"/>
                    <a:pt x="354606" y="265126"/>
                    <a:pt x="331636" y="282323"/>
                  </a:cubicBezTo>
                  <a:lnTo>
                    <a:pt x="81832" y="282323"/>
                  </a:lnTo>
                  <a:lnTo>
                    <a:pt x="81832" y="322450"/>
                  </a:lnTo>
                  <a:lnTo>
                    <a:pt x="295744" y="322450"/>
                  </a:lnTo>
                  <a:cubicBezTo>
                    <a:pt x="288566" y="335348"/>
                    <a:pt x="282823" y="351112"/>
                    <a:pt x="279952" y="366877"/>
                  </a:cubicBezTo>
                  <a:lnTo>
                    <a:pt x="81832" y="366877"/>
                  </a:lnTo>
                  <a:lnTo>
                    <a:pt x="81832" y="407004"/>
                  </a:lnTo>
                  <a:lnTo>
                    <a:pt x="279952" y="407004"/>
                  </a:lnTo>
                  <a:cubicBezTo>
                    <a:pt x="281388" y="422768"/>
                    <a:pt x="287130" y="438532"/>
                    <a:pt x="294309" y="451430"/>
                  </a:cubicBezTo>
                  <a:lnTo>
                    <a:pt x="81832" y="451430"/>
                  </a:lnTo>
                  <a:lnTo>
                    <a:pt x="81832" y="491557"/>
                  </a:lnTo>
                  <a:lnTo>
                    <a:pt x="327329" y="491557"/>
                  </a:lnTo>
                  <a:cubicBezTo>
                    <a:pt x="350299" y="511621"/>
                    <a:pt x="380448" y="521653"/>
                    <a:pt x="410596" y="521653"/>
                  </a:cubicBezTo>
                  <a:cubicBezTo>
                    <a:pt x="424953" y="521653"/>
                    <a:pt x="439309" y="518786"/>
                    <a:pt x="453666" y="514487"/>
                  </a:cubicBezTo>
                  <a:lnTo>
                    <a:pt x="480943" y="543149"/>
                  </a:lnTo>
                  <a:lnTo>
                    <a:pt x="480943" y="594741"/>
                  </a:lnTo>
                  <a:lnTo>
                    <a:pt x="0" y="594741"/>
                  </a:lnTo>
                  <a:lnTo>
                    <a:pt x="0" y="180572"/>
                  </a:lnTo>
                  <a:lnTo>
                    <a:pt x="172278" y="180572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solidFill>
                  <a:schemeClr val="bg1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28" name="îṡḷiḍé"/>
            <p:cNvSpPr/>
            <p:nvPr/>
          </p:nvSpPr>
          <p:spPr>
            <a:xfrm>
              <a:off x="3283638" y="4588923"/>
              <a:ext cx="699901" cy="69990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tx1"/>
                  </a:solidFill>
                  <a:ea typeface="阿里巴巴普惠体" panose="00020600040101010101" pitchFamily="18" charset="-122"/>
                </a:rPr>
                <a:t>3</a:t>
              </a:r>
              <a:endParaRPr lang="id-ID" sz="2400" b="1" dirty="0">
                <a:solidFill>
                  <a:schemeClr val="tx1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29" name="íŝ1îdè"/>
            <p:cNvSpPr/>
            <p:nvPr/>
          </p:nvSpPr>
          <p:spPr bwMode="auto">
            <a:xfrm>
              <a:off x="4530779" y="3668632"/>
              <a:ext cx="544236" cy="543410"/>
            </a:xfrm>
            <a:custGeom>
              <a:avLst/>
              <a:gdLst>
                <a:gd name="connsiteX0" fmla="*/ 377627 w 607991"/>
                <a:gd name="connsiteY0" fmla="*/ 294539 h 607074"/>
                <a:gd name="connsiteX1" fmla="*/ 294976 w 607991"/>
                <a:gd name="connsiteY1" fmla="*/ 377063 h 607074"/>
                <a:gd name="connsiteX2" fmla="*/ 377627 w 607991"/>
                <a:gd name="connsiteY2" fmla="*/ 459588 h 607074"/>
                <a:gd name="connsiteX3" fmla="*/ 460355 w 607991"/>
                <a:gd name="connsiteY3" fmla="*/ 377063 h 607074"/>
                <a:gd name="connsiteX4" fmla="*/ 377627 w 607991"/>
                <a:gd name="connsiteY4" fmla="*/ 294539 h 607074"/>
                <a:gd name="connsiteX5" fmla="*/ 359653 w 607991"/>
                <a:gd name="connsiteY5" fmla="*/ 147129 h 607074"/>
                <a:gd name="connsiteX6" fmla="*/ 395678 w 607991"/>
                <a:gd name="connsiteY6" fmla="*/ 147129 h 607074"/>
                <a:gd name="connsiteX7" fmla="*/ 423869 w 607991"/>
                <a:gd name="connsiteY7" fmla="*/ 175277 h 607074"/>
                <a:gd name="connsiteX8" fmla="*/ 423869 w 607991"/>
                <a:gd name="connsiteY8" fmla="*/ 197288 h 607074"/>
                <a:gd name="connsiteX9" fmla="*/ 435698 w 607991"/>
                <a:gd name="connsiteY9" fmla="*/ 212474 h 607074"/>
                <a:gd name="connsiteX10" fmla="*/ 453212 w 607991"/>
                <a:gd name="connsiteY10" fmla="*/ 219760 h 607074"/>
                <a:gd name="connsiteX11" fmla="*/ 460970 w 607991"/>
                <a:gd name="connsiteY11" fmla="*/ 221447 h 607074"/>
                <a:gd name="connsiteX12" fmla="*/ 472185 w 607991"/>
                <a:gd name="connsiteY12" fmla="*/ 217459 h 607074"/>
                <a:gd name="connsiteX13" fmla="*/ 487931 w 607991"/>
                <a:gd name="connsiteY13" fmla="*/ 201737 h 607074"/>
                <a:gd name="connsiteX14" fmla="*/ 507826 w 607991"/>
                <a:gd name="connsiteY14" fmla="*/ 193530 h 607074"/>
                <a:gd name="connsiteX15" fmla="*/ 527798 w 607991"/>
                <a:gd name="connsiteY15" fmla="*/ 201737 h 607074"/>
                <a:gd name="connsiteX16" fmla="*/ 553300 w 607991"/>
                <a:gd name="connsiteY16" fmla="*/ 227200 h 607074"/>
                <a:gd name="connsiteX17" fmla="*/ 553300 w 607991"/>
                <a:gd name="connsiteY17" fmla="*/ 267005 h 607074"/>
                <a:gd name="connsiteX18" fmla="*/ 537553 w 607991"/>
                <a:gd name="connsiteY18" fmla="*/ 282727 h 607074"/>
                <a:gd name="connsiteX19" fmla="*/ 535249 w 607991"/>
                <a:gd name="connsiteY19" fmla="*/ 301671 h 607074"/>
                <a:gd name="connsiteX20" fmla="*/ 542546 w 607991"/>
                <a:gd name="connsiteY20" fmla="*/ 319158 h 607074"/>
                <a:gd name="connsiteX21" fmla="*/ 557755 w 607991"/>
                <a:gd name="connsiteY21" fmla="*/ 330969 h 607074"/>
                <a:gd name="connsiteX22" fmla="*/ 579800 w 607991"/>
                <a:gd name="connsiteY22" fmla="*/ 330969 h 607074"/>
                <a:gd name="connsiteX23" fmla="*/ 607991 w 607991"/>
                <a:gd name="connsiteY23" fmla="*/ 359116 h 607074"/>
                <a:gd name="connsiteX24" fmla="*/ 607991 w 607991"/>
                <a:gd name="connsiteY24" fmla="*/ 395087 h 607074"/>
                <a:gd name="connsiteX25" fmla="*/ 579800 w 607991"/>
                <a:gd name="connsiteY25" fmla="*/ 423234 h 607074"/>
                <a:gd name="connsiteX26" fmla="*/ 557755 w 607991"/>
                <a:gd name="connsiteY26" fmla="*/ 423234 h 607074"/>
                <a:gd name="connsiteX27" fmla="*/ 542546 w 607991"/>
                <a:gd name="connsiteY27" fmla="*/ 435045 h 607074"/>
                <a:gd name="connsiteX28" fmla="*/ 535249 w 607991"/>
                <a:gd name="connsiteY28" fmla="*/ 452532 h 607074"/>
                <a:gd name="connsiteX29" fmla="*/ 537630 w 607991"/>
                <a:gd name="connsiteY29" fmla="*/ 471476 h 607074"/>
                <a:gd name="connsiteX30" fmla="*/ 553300 w 607991"/>
                <a:gd name="connsiteY30" fmla="*/ 487199 h 607074"/>
                <a:gd name="connsiteX31" fmla="*/ 553300 w 607991"/>
                <a:gd name="connsiteY31" fmla="*/ 527004 h 607074"/>
                <a:gd name="connsiteX32" fmla="*/ 527798 w 607991"/>
                <a:gd name="connsiteY32" fmla="*/ 552467 h 607074"/>
                <a:gd name="connsiteX33" fmla="*/ 507826 w 607991"/>
                <a:gd name="connsiteY33" fmla="*/ 560750 h 607074"/>
                <a:gd name="connsiteX34" fmla="*/ 487931 w 607991"/>
                <a:gd name="connsiteY34" fmla="*/ 552467 h 607074"/>
                <a:gd name="connsiteX35" fmla="*/ 472261 w 607991"/>
                <a:gd name="connsiteY35" fmla="*/ 536821 h 607074"/>
                <a:gd name="connsiteX36" fmla="*/ 460970 w 607991"/>
                <a:gd name="connsiteY36" fmla="*/ 532756 h 607074"/>
                <a:gd name="connsiteX37" fmla="*/ 453212 w 607991"/>
                <a:gd name="connsiteY37" fmla="*/ 534443 h 607074"/>
                <a:gd name="connsiteX38" fmla="*/ 435698 w 607991"/>
                <a:gd name="connsiteY38" fmla="*/ 541729 h 607074"/>
                <a:gd name="connsiteX39" fmla="*/ 423869 w 607991"/>
                <a:gd name="connsiteY39" fmla="*/ 556915 h 607074"/>
                <a:gd name="connsiteX40" fmla="*/ 423869 w 607991"/>
                <a:gd name="connsiteY40" fmla="*/ 578927 h 607074"/>
                <a:gd name="connsiteX41" fmla="*/ 395678 w 607991"/>
                <a:gd name="connsiteY41" fmla="*/ 607074 h 607074"/>
                <a:gd name="connsiteX42" fmla="*/ 359653 w 607991"/>
                <a:gd name="connsiteY42" fmla="*/ 607074 h 607074"/>
                <a:gd name="connsiteX43" fmla="*/ 331462 w 607991"/>
                <a:gd name="connsiteY43" fmla="*/ 578927 h 607074"/>
                <a:gd name="connsiteX44" fmla="*/ 331462 w 607991"/>
                <a:gd name="connsiteY44" fmla="*/ 556915 h 607074"/>
                <a:gd name="connsiteX45" fmla="*/ 319633 w 607991"/>
                <a:gd name="connsiteY45" fmla="*/ 541729 h 607074"/>
                <a:gd name="connsiteX46" fmla="*/ 302119 w 607991"/>
                <a:gd name="connsiteY46" fmla="*/ 534443 h 607074"/>
                <a:gd name="connsiteX47" fmla="*/ 294361 w 607991"/>
                <a:gd name="connsiteY47" fmla="*/ 532756 h 607074"/>
                <a:gd name="connsiteX48" fmla="*/ 283146 w 607991"/>
                <a:gd name="connsiteY48" fmla="*/ 536821 h 607074"/>
                <a:gd name="connsiteX49" fmla="*/ 267400 w 607991"/>
                <a:gd name="connsiteY49" fmla="*/ 552467 h 607074"/>
                <a:gd name="connsiteX50" fmla="*/ 247505 w 607991"/>
                <a:gd name="connsiteY50" fmla="*/ 560750 h 607074"/>
                <a:gd name="connsiteX51" fmla="*/ 227533 w 607991"/>
                <a:gd name="connsiteY51" fmla="*/ 552467 h 607074"/>
                <a:gd name="connsiteX52" fmla="*/ 202031 w 607991"/>
                <a:gd name="connsiteY52" fmla="*/ 527004 h 607074"/>
                <a:gd name="connsiteX53" fmla="*/ 202031 w 607991"/>
                <a:gd name="connsiteY53" fmla="*/ 487199 h 607074"/>
                <a:gd name="connsiteX54" fmla="*/ 217701 w 607991"/>
                <a:gd name="connsiteY54" fmla="*/ 471476 h 607074"/>
                <a:gd name="connsiteX55" fmla="*/ 220082 w 607991"/>
                <a:gd name="connsiteY55" fmla="*/ 452532 h 607074"/>
                <a:gd name="connsiteX56" fmla="*/ 212785 w 607991"/>
                <a:gd name="connsiteY56" fmla="*/ 435045 h 607074"/>
                <a:gd name="connsiteX57" fmla="*/ 197576 w 607991"/>
                <a:gd name="connsiteY57" fmla="*/ 423234 h 607074"/>
                <a:gd name="connsiteX58" fmla="*/ 175531 w 607991"/>
                <a:gd name="connsiteY58" fmla="*/ 423234 h 607074"/>
                <a:gd name="connsiteX59" fmla="*/ 147340 w 607991"/>
                <a:gd name="connsiteY59" fmla="*/ 395087 h 607074"/>
                <a:gd name="connsiteX60" fmla="*/ 147340 w 607991"/>
                <a:gd name="connsiteY60" fmla="*/ 359116 h 607074"/>
                <a:gd name="connsiteX61" fmla="*/ 175531 w 607991"/>
                <a:gd name="connsiteY61" fmla="*/ 330969 h 607074"/>
                <a:gd name="connsiteX62" fmla="*/ 197576 w 607991"/>
                <a:gd name="connsiteY62" fmla="*/ 330969 h 607074"/>
                <a:gd name="connsiteX63" fmla="*/ 212785 w 607991"/>
                <a:gd name="connsiteY63" fmla="*/ 319158 h 607074"/>
                <a:gd name="connsiteX64" fmla="*/ 220082 w 607991"/>
                <a:gd name="connsiteY64" fmla="*/ 301671 h 607074"/>
                <a:gd name="connsiteX65" fmla="*/ 217701 w 607991"/>
                <a:gd name="connsiteY65" fmla="*/ 282727 h 607074"/>
                <a:gd name="connsiteX66" fmla="*/ 202031 w 607991"/>
                <a:gd name="connsiteY66" fmla="*/ 267005 h 607074"/>
                <a:gd name="connsiteX67" fmla="*/ 193735 w 607991"/>
                <a:gd name="connsiteY67" fmla="*/ 247141 h 607074"/>
                <a:gd name="connsiteX68" fmla="*/ 202031 w 607991"/>
                <a:gd name="connsiteY68" fmla="*/ 227200 h 607074"/>
                <a:gd name="connsiteX69" fmla="*/ 227533 w 607991"/>
                <a:gd name="connsiteY69" fmla="*/ 201737 h 607074"/>
                <a:gd name="connsiteX70" fmla="*/ 247505 w 607991"/>
                <a:gd name="connsiteY70" fmla="*/ 193530 h 607074"/>
                <a:gd name="connsiteX71" fmla="*/ 267400 w 607991"/>
                <a:gd name="connsiteY71" fmla="*/ 201737 h 607074"/>
                <a:gd name="connsiteX72" fmla="*/ 283070 w 607991"/>
                <a:gd name="connsiteY72" fmla="*/ 217383 h 607074"/>
                <a:gd name="connsiteX73" fmla="*/ 294361 w 607991"/>
                <a:gd name="connsiteY73" fmla="*/ 221447 h 607074"/>
                <a:gd name="connsiteX74" fmla="*/ 302119 w 607991"/>
                <a:gd name="connsiteY74" fmla="*/ 219760 h 607074"/>
                <a:gd name="connsiteX75" fmla="*/ 319633 w 607991"/>
                <a:gd name="connsiteY75" fmla="*/ 212474 h 607074"/>
                <a:gd name="connsiteX76" fmla="*/ 331462 w 607991"/>
                <a:gd name="connsiteY76" fmla="*/ 197288 h 607074"/>
                <a:gd name="connsiteX77" fmla="*/ 331462 w 607991"/>
                <a:gd name="connsiteY77" fmla="*/ 175277 h 607074"/>
                <a:gd name="connsiteX78" fmla="*/ 359653 w 607991"/>
                <a:gd name="connsiteY78" fmla="*/ 147129 h 607074"/>
                <a:gd name="connsiteX79" fmla="*/ 119929 w 607991"/>
                <a:gd name="connsiteY79" fmla="*/ 83135 h 607074"/>
                <a:gd name="connsiteX80" fmla="*/ 83282 w 607991"/>
                <a:gd name="connsiteY80" fmla="*/ 119717 h 607074"/>
                <a:gd name="connsiteX81" fmla="*/ 119929 w 607991"/>
                <a:gd name="connsiteY81" fmla="*/ 156223 h 607074"/>
                <a:gd name="connsiteX82" fmla="*/ 156499 w 607991"/>
                <a:gd name="connsiteY82" fmla="*/ 119717 h 607074"/>
                <a:gd name="connsiteX83" fmla="*/ 119929 w 607991"/>
                <a:gd name="connsiteY83" fmla="*/ 83135 h 607074"/>
                <a:gd name="connsiteX84" fmla="*/ 110863 w 607991"/>
                <a:gd name="connsiteY84" fmla="*/ 0 h 607074"/>
                <a:gd name="connsiteX85" fmla="*/ 128918 w 607991"/>
                <a:gd name="connsiteY85" fmla="*/ 0 h 607074"/>
                <a:gd name="connsiteX86" fmla="*/ 147741 w 607991"/>
                <a:gd name="connsiteY86" fmla="*/ 18790 h 607074"/>
                <a:gd name="connsiteX87" fmla="*/ 147741 w 607991"/>
                <a:gd name="connsiteY87" fmla="*/ 29834 h 607074"/>
                <a:gd name="connsiteX88" fmla="*/ 150507 w 607991"/>
                <a:gd name="connsiteY88" fmla="*/ 32978 h 607074"/>
                <a:gd name="connsiteX89" fmla="*/ 159726 w 607991"/>
                <a:gd name="connsiteY89" fmla="*/ 36813 h 607074"/>
                <a:gd name="connsiteX90" fmla="*/ 161570 w 607991"/>
                <a:gd name="connsiteY90" fmla="*/ 37196 h 607074"/>
                <a:gd name="connsiteX91" fmla="*/ 163875 w 607991"/>
                <a:gd name="connsiteY91" fmla="*/ 36583 h 607074"/>
                <a:gd name="connsiteX92" fmla="*/ 171711 w 607991"/>
                <a:gd name="connsiteY92" fmla="*/ 28683 h 607074"/>
                <a:gd name="connsiteX93" fmla="*/ 185002 w 607991"/>
                <a:gd name="connsiteY93" fmla="*/ 23238 h 607074"/>
                <a:gd name="connsiteX94" fmla="*/ 198294 w 607991"/>
                <a:gd name="connsiteY94" fmla="*/ 28683 h 607074"/>
                <a:gd name="connsiteX95" fmla="*/ 211047 w 607991"/>
                <a:gd name="connsiteY95" fmla="*/ 41414 h 607074"/>
                <a:gd name="connsiteX96" fmla="*/ 211047 w 607991"/>
                <a:gd name="connsiteY96" fmla="*/ 67950 h 607074"/>
                <a:gd name="connsiteX97" fmla="*/ 203211 w 607991"/>
                <a:gd name="connsiteY97" fmla="*/ 75849 h 607074"/>
                <a:gd name="connsiteX98" fmla="*/ 202903 w 607991"/>
                <a:gd name="connsiteY98" fmla="*/ 79914 h 607074"/>
                <a:gd name="connsiteX99" fmla="*/ 206822 w 607991"/>
                <a:gd name="connsiteY99" fmla="*/ 89117 h 607074"/>
                <a:gd name="connsiteX100" fmla="*/ 209972 w 607991"/>
                <a:gd name="connsiteY100" fmla="*/ 91878 h 607074"/>
                <a:gd name="connsiteX101" fmla="*/ 220958 w 607991"/>
                <a:gd name="connsiteY101" fmla="*/ 91878 h 607074"/>
                <a:gd name="connsiteX102" fmla="*/ 239781 w 607991"/>
                <a:gd name="connsiteY102" fmla="*/ 110668 h 607074"/>
                <a:gd name="connsiteX103" fmla="*/ 239781 w 607991"/>
                <a:gd name="connsiteY103" fmla="*/ 128691 h 607074"/>
                <a:gd name="connsiteX104" fmla="*/ 220958 w 607991"/>
                <a:gd name="connsiteY104" fmla="*/ 147480 h 607074"/>
                <a:gd name="connsiteX105" fmla="*/ 209972 w 607991"/>
                <a:gd name="connsiteY105" fmla="*/ 147480 h 607074"/>
                <a:gd name="connsiteX106" fmla="*/ 206822 w 607991"/>
                <a:gd name="connsiteY106" fmla="*/ 150241 h 607074"/>
                <a:gd name="connsiteX107" fmla="*/ 202903 w 607991"/>
                <a:gd name="connsiteY107" fmla="*/ 159444 h 607074"/>
                <a:gd name="connsiteX108" fmla="*/ 203211 w 607991"/>
                <a:gd name="connsiteY108" fmla="*/ 163586 h 607074"/>
                <a:gd name="connsiteX109" fmla="*/ 211047 w 607991"/>
                <a:gd name="connsiteY109" fmla="*/ 171408 h 607074"/>
                <a:gd name="connsiteX110" fmla="*/ 211047 w 607991"/>
                <a:gd name="connsiteY110" fmla="*/ 197944 h 607074"/>
                <a:gd name="connsiteX111" fmla="*/ 198294 w 607991"/>
                <a:gd name="connsiteY111" fmla="*/ 210675 h 607074"/>
                <a:gd name="connsiteX112" fmla="*/ 185002 w 607991"/>
                <a:gd name="connsiteY112" fmla="*/ 216197 h 607074"/>
                <a:gd name="connsiteX113" fmla="*/ 171711 w 607991"/>
                <a:gd name="connsiteY113" fmla="*/ 210675 h 607074"/>
                <a:gd name="connsiteX114" fmla="*/ 163875 w 607991"/>
                <a:gd name="connsiteY114" fmla="*/ 202852 h 607074"/>
                <a:gd name="connsiteX115" fmla="*/ 161570 w 607991"/>
                <a:gd name="connsiteY115" fmla="*/ 202239 h 607074"/>
                <a:gd name="connsiteX116" fmla="*/ 159726 w 607991"/>
                <a:gd name="connsiteY116" fmla="*/ 202546 h 607074"/>
                <a:gd name="connsiteX117" fmla="*/ 150507 w 607991"/>
                <a:gd name="connsiteY117" fmla="*/ 206457 h 607074"/>
                <a:gd name="connsiteX118" fmla="*/ 147741 w 607991"/>
                <a:gd name="connsiteY118" fmla="*/ 209601 h 607074"/>
                <a:gd name="connsiteX119" fmla="*/ 147741 w 607991"/>
                <a:gd name="connsiteY119" fmla="*/ 220568 h 607074"/>
                <a:gd name="connsiteX120" fmla="*/ 128918 w 607991"/>
                <a:gd name="connsiteY120" fmla="*/ 239358 h 607074"/>
                <a:gd name="connsiteX121" fmla="*/ 110863 w 607991"/>
                <a:gd name="connsiteY121" fmla="*/ 239358 h 607074"/>
                <a:gd name="connsiteX122" fmla="*/ 92117 w 607991"/>
                <a:gd name="connsiteY122" fmla="*/ 220568 h 607074"/>
                <a:gd name="connsiteX123" fmla="*/ 92117 w 607991"/>
                <a:gd name="connsiteY123" fmla="*/ 209601 h 607074"/>
                <a:gd name="connsiteX124" fmla="*/ 89274 w 607991"/>
                <a:gd name="connsiteY124" fmla="*/ 206457 h 607074"/>
                <a:gd name="connsiteX125" fmla="*/ 80055 w 607991"/>
                <a:gd name="connsiteY125" fmla="*/ 202546 h 607074"/>
                <a:gd name="connsiteX126" fmla="*/ 78211 w 607991"/>
                <a:gd name="connsiteY126" fmla="*/ 202239 h 607074"/>
                <a:gd name="connsiteX127" fmla="*/ 75983 w 607991"/>
                <a:gd name="connsiteY127" fmla="*/ 202852 h 607074"/>
                <a:gd name="connsiteX128" fmla="*/ 68070 w 607991"/>
                <a:gd name="connsiteY128" fmla="*/ 210675 h 607074"/>
                <a:gd name="connsiteX129" fmla="*/ 54779 w 607991"/>
                <a:gd name="connsiteY129" fmla="*/ 216197 h 607074"/>
                <a:gd name="connsiteX130" fmla="*/ 41487 w 607991"/>
                <a:gd name="connsiteY130" fmla="*/ 210675 h 607074"/>
                <a:gd name="connsiteX131" fmla="*/ 28734 w 607991"/>
                <a:gd name="connsiteY131" fmla="*/ 197944 h 607074"/>
                <a:gd name="connsiteX132" fmla="*/ 23279 w 607991"/>
                <a:gd name="connsiteY132" fmla="*/ 184676 h 607074"/>
                <a:gd name="connsiteX133" fmla="*/ 28734 w 607991"/>
                <a:gd name="connsiteY133" fmla="*/ 171408 h 607074"/>
                <a:gd name="connsiteX134" fmla="*/ 36570 w 607991"/>
                <a:gd name="connsiteY134" fmla="*/ 163586 h 607074"/>
                <a:gd name="connsiteX135" fmla="*/ 36878 w 607991"/>
                <a:gd name="connsiteY135" fmla="*/ 159444 h 607074"/>
                <a:gd name="connsiteX136" fmla="*/ 33036 w 607991"/>
                <a:gd name="connsiteY136" fmla="*/ 150241 h 607074"/>
                <a:gd name="connsiteX137" fmla="*/ 29886 w 607991"/>
                <a:gd name="connsiteY137" fmla="*/ 147480 h 607074"/>
                <a:gd name="connsiteX138" fmla="*/ 18823 w 607991"/>
                <a:gd name="connsiteY138" fmla="*/ 147480 h 607074"/>
                <a:gd name="connsiteX139" fmla="*/ 0 w 607991"/>
                <a:gd name="connsiteY139" fmla="*/ 128691 h 607074"/>
                <a:gd name="connsiteX140" fmla="*/ 0 w 607991"/>
                <a:gd name="connsiteY140" fmla="*/ 110668 h 607074"/>
                <a:gd name="connsiteX141" fmla="*/ 18823 w 607991"/>
                <a:gd name="connsiteY141" fmla="*/ 91955 h 607074"/>
                <a:gd name="connsiteX142" fmla="*/ 29886 w 607991"/>
                <a:gd name="connsiteY142" fmla="*/ 91955 h 607074"/>
                <a:gd name="connsiteX143" fmla="*/ 33036 w 607991"/>
                <a:gd name="connsiteY143" fmla="*/ 89194 h 607074"/>
                <a:gd name="connsiteX144" fmla="*/ 36878 w 607991"/>
                <a:gd name="connsiteY144" fmla="*/ 79914 h 607074"/>
                <a:gd name="connsiteX145" fmla="*/ 36570 w 607991"/>
                <a:gd name="connsiteY145" fmla="*/ 75849 h 607074"/>
                <a:gd name="connsiteX146" fmla="*/ 28734 w 607991"/>
                <a:gd name="connsiteY146" fmla="*/ 67950 h 607074"/>
                <a:gd name="connsiteX147" fmla="*/ 28734 w 607991"/>
                <a:gd name="connsiteY147" fmla="*/ 41414 h 607074"/>
                <a:gd name="connsiteX148" fmla="*/ 41487 w 607991"/>
                <a:gd name="connsiteY148" fmla="*/ 28683 h 607074"/>
                <a:gd name="connsiteX149" fmla="*/ 54779 w 607991"/>
                <a:gd name="connsiteY149" fmla="*/ 23238 h 607074"/>
                <a:gd name="connsiteX150" fmla="*/ 68070 w 607991"/>
                <a:gd name="connsiteY150" fmla="*/ 28683 h 607074"/>
                <a:gd name="connsiteX151" fmla="*/ 75983 w 607991"/>
                <a:gd name="connsiteY151" fmla="*/ 36583 h 607074"/>
                <a:gd name="connsiteX152" fmla="*/ 78211 w 607991"/>
                <a:gd name="connsiteY152" fmla="*/ 37196 h 607074"/>
                <a:gd name="connsiteX153" fmla="*/ 80055 w 607991"/>
                <a:gd name="connsiteY153" fmla="*/ 36813 h 607074"/>
                <a:gd name="connsiteX154" fmla="*/ 89351 w 607991"/>
                <a:gd name="connsiteY154" fmla="*/ 32978 h 607074"/>
                <a:gd name="connsiteX155" fmla="*/ 92117 w 607991"/>
                <a:gd name="connsiteY155" fmla="*/ 29834 h 607074"/>
                <a:gd name="connsiteX156" fmla="*/ 92117 w 607991"/>
                <a:gd name="connsiteY156" fmla="*/ 18790 h 607074"/>
                <a:gd name="connsiteX157" fmla="*/ 110863 w 607991"/>
                <a:gd name="connsiteY157" fmla="*/ 0 h 60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607991" h="607074">
                  <a:moveTo>
                    <a:pt x="377627" y="294539"/>
                  </a:moveTo>
                  <a:cubicBezTo>
                    <a:pt x="332077" y="294539"/>
                    <a:pt x="294976" y="331583"/>
                    <a:pt x="294976" y="377063"/>
                  </a:cubicBezTo>
                  <a:cubicBezTo>
                    <a:pt x="294976" y="422621"/>
                    <a:pt x="332077" y="459588"/>
                    <a:pt x="377627" y="459588"/>
                  </a:cubicBezTo>
                  <a:cubicBezTo>
                    <a:pt x="423254" y="459588"/>
                    <a:pt x="460355" y="422621"/>
                    <a:pt x="460355" y="377063"/>
                  </a:cubicBezTo>
                  <a:cubicBezTo>
                    <a:pt x="460355" y="331583"/>
                    <a:pt x="423254" y="294539"/>
                    <a:pt x="377627" y="294539"/>
                  </a:cubicBezTo>
                  <a:close/>
                  <a:moveTo>
                    <a:pt x="359653" y="147129"/>
                  </a:moveTo>
                  <a:lnTo>
                    <a:pt x="395678" y="147129"/>
                  </a:lnTo>
                  <a:cubicBezTo>
                    <a:pt x="411271" y="147129"/>
                    <a:pt x="423869" y="159707"/>
                    <a:pt x="423869" y="175277"/>
                  </a:cubicBezTo>
                  <a:lnTo>
                    <a:pt x="423869" y="197288"/>
                  </a:lnTo>
                  <a:cubicBezTo>
                    <a:pt x="423869" y="203270"/>
                    <a:pt x="429323" y="210173"/>
                    <a:pt x="435698" y="212474"/>
                  </a:cubicBezTo>
                  <a:cubicBezTo>
                    <a:pt x="441613" y="214545"/>
                    <a:pt x="447527" y="216999"/>
                    <a:pt x="453212" y="219760"/>
                  </a:cubicBezTo>
                  <a:cubicBezTo>
                    <a:pt x="455516" y="220834"/>
                    <a:pt x="458205" y="221447"/>
                    <a:pt x="460970" y="221447"/>
                  </a:cubicBezTo>
                  <a:cubicBezTo>
                    <a:pt x="465502" y="221447"/>
                    <a:pt x="469727" y="219913"/>
                    <a:pt x="472185" y="217459"/>
                  </a:cubicBezTo>
                  <a:lnTo>
                    <a:pt x="487931" y="201737"/>
                  </a:lnTo>
                  <a:cubicBezTo>
                    <a:pt x="493232" y="196445"/>
                    <a:pt x="500298" y="193530"/>
                    <a:pt x="507826" y="193530"/>
                  </a:cubicBezTo>
                  <a:cubicBezTo>
                    <a:pt x="515431" y="193530"/>
                    <a:pt x="522498" y="196445"/>
                    <a:pt x="527798" y="201737"/>
                  </a:cubicBezTo>
                  <a:lnTo>
                    <a:pt x="553300" y="227200"/>
                  </a:lnTo>
                  <a:cubicBezTo>
                    <a:pt x="564284" y="238167"/>
                    <a:pt x="564284" y="256037"/>
                    <a:pt x="553300" y="267005"/>
                  </a:cubicBezTo>
                  <a:lnTo>
                    <a:pt x="537553" y="282727"/>
                  </a:lnTo>
                  <a:cubicBezTo>
                    <a:pt x="533405" y="286946"/>
                    <a:pt x="532253" y="295612"/>
                    <a:pt x="535249" y="301671"/>
                  </a:cubicBezTo>
                  <a:cubicBezTo>
                    <a:pt x="538014" y="307347"/>
                    <a:pt x="540472" y="313252"/>
                    <a:pt x="542546" y="319158"/>
                  </a:cubicBezTo>
                  <a:cubicBezTo>
                    <a:pt x="544850" y="325524"/>
                    <a:pt x="551764" y="330969"/>
                    <a:pt x="557755" y="330969"/>
                  </a:cubicBezTo>
                  <a:lnTo>
                    <a:pt x="579800" y="330969"/>
                  </a:lnTo>
                  <a:cubicBezTo>
                    <a:pt x="595317" y="330969"/>
                    <a:pt x="607991" y="343547"/>
                    <a:pt x="607991" y="359116"/>
                  </a:cubicBezTo>
                  <a:lnTo>
                    <a:pt x="607991" y="395087"/>
                  </a:lnTo>
                  <a:cubicBezTo>
                    <a:pt x="607991" y="410656"/>
                    <a:pt x="595394" y="423234"/>
                    <a:pt x="579800" y="423234"/>
                  </a:cubicBezTo>
                  <a:lnTo>
                    <a:pt x="557755" y="423234"/>
                  </a:lnTo>
                  <a:cubicBezTo>
                    <a:pt x="551764" y="423234"/>
                    <a:pt x="544850" y="428680"/>
                    <a:pt x="542546" y="435045"/>
                  </a:cubicBezTo>
                  <a:cubicBezTo>
                    <a:pt x="540472" y="440951"/>
                    <a:pt x="538014" y="446857"/>
                    <a:pt x="535249" y="452532"/>
                  </a:cubicBezTo>
                  <a:cubicBezTo>
                    <a:pt x="532330" y="458591"/>
                    <a:pt x="533405" y="467258"/>
                    <a:pt x="537630" y="471476"/>
                  </a:cubicBezTo>
                  <a:lnTo>
                    <a:pt x="553300" y="487199"/>
                  </a:lnTo>
                  <a:cubicBezTo>
                    <a:pt x="564284" y="498166"/>
                    <a:pt x="564284" y="516036"/>
                    <a:pt x="553300" y="527004"/>
                  </a:cubicBezTo>
                  <a:lnTo>
                    <a:pt x="527798" y="552467"/>
                  </a:lnTo>
                  <a:cubicBezTo>
                    <a:pt x="522498" y="557759"/>
                    <a:pt x="515431" y="560750"/>
                    <a:pt x="507826" y="560750"/>
                  </a:cubicBezTo>
                  <a:cubicBezTo>
                    <a:pt x="500298" y="560750"/>
                    <a:pt x="493232" y="557759"/>
                    <a:pt x="487931" y="552467"/>
                  </a:cubicBezTo>
                  <a:lnTo>
                    <a:pt x="472261" y="536821"/>
                  </a:lnTo>
                  <a:cubicBezTo>
                    <a:pt x="469727" y="534290"/>
                    <a:pt x="465502" y="532756"/>
                    <a:pt x="460970" y="532756"/>
                  </a:cubicBezTo>
                  <a:cubicBezTo>
                    <a:pt x="458205" y="532756"/>
                    <a:pt x="455439" y="533369"/>
                    <a:pt x="453212" y="534443"/>
                  </a:cubicBezTo>
                  <a:cubicBezTo>
                    <a:pt x="447527" y="537204"/>
                    <a:pt x="441613" y="539658"/>
                    <a:pt x="435698" y="541729"/>
                  </a:cubicBezTo>
                  <a:cubicBezTo>
                    <a:pt x="429323" y="544030"/>
                    <a:pt x="423869" y="550933"/>
                    <a:pt x="423869" y="556915"/>
                  </a:cubicBezTo>
                  <a:lnTo>
                    <a:pt x="423869" y="578927"/>
                  </a:lnTo>
                  <a:cubicBezTo>
                    <a:pt x="423869" y="594496"/>
                    <a:pt x="411271" y="607074"/>
                    <a:pt x="395678" y="607074"/>
                  </a:cubicBezTo>
                  <a:lnTo>
                    <a:pt x="359653" y="607074"/>
                  </a:lnTo>
                  <a:cubicBezTo>
                    <a:pt x="344060" y="607074"/>
                    <a:pt x="331462" y="594496"/>
                    <a:pt x="331462" y="578927"/>
                  </a:cubicBezTo>
                  <a:lnTo>
                    <a:pt x="331462" y="556915"/>
                  </a:lnTo>
                  <a:cubicBezTo>
                    <a:pt x="331462" y="550933"/>
                    <a:pt x="326008" y="544030"/>
                    <a:pt x="319633" y="541729"/>
                  </a:cubicBezTo>
                  <a:cubicBezTo>
                    <a:pt x="313718" y="539658"/>
                    <a:pt x="307804" y="537204"/>
                    <a:pt x="302119" y="534443"/>
                  </a:cubicBezTo>
                  <a:cubicBezTo>
                    <a:pt x="299892" y="533369"/>
                    <a:pt x="297203" y="532756"/>
                    <a:pt x="294361" y="532756"/>
                  </a:cubicBezTo>
                  <a:cubicBezTo>
                    <a:pt x="289829" y="532756"/>
                    <a:pt x="285681" y="534290"/>
                    <a:pt x="283146" y="536821"/>
                  </a:cubicBezTo>
                  <a:lnTo>
                    <a:pt x="267400" y="552467"/>
                  </a:lnTo>
                  <a:cubicBezTo>
                    <a:pt x="262099" y="557759"/>
                    <a:pt x="255033" y="560750"/>
                    <a:pt x="247505" y="560750"/>
                  </a:cubicBezTo>
                  <a:cubicBezTo>
                    <a:pt x="239977" y="560750"/>
                    <a:pt x="232834" y="557759"/>
                    <a:pt x="227533" y="552467"/>
                  </a:cubicBezTo>
                  <a:lnTo>
                    <a:pt x="202031" y="527004"/>
                  </a:lnTo>
                  <a:cubicBezTo>
                    <a:pt x="191047" y="516036"/>
                    <a:pt x="191047" y="498166"/>
                    <a:pt x="202031" y="487199"/>
                  </a:cubicBezTo>
                  <a:lnTo>
                    <a:pt x="217701" y="471476"/>
                  </a:lnTo>
                  <a:cubicBezTo>
                    <a:pt x="221926" y="467258"/>
                    <a:pt x="223001" y="458591"/>
                    <a:pt x="220082" y="452532"/>
                  </a:cubicBezTo>
                  <a:cubicBezTo>
                    <a:pt x="217317" y="446780"/>
                    <a:pt x="214859" y="440951"/>
                    <a:pt x="212785" y="435045"/>
                  </a:cubicBezTo>
                  <a:cubicBezTo>
                    <a:pt x="210481" y="428603"/>
                    <a:pt x="203568" y="423234"/>
                    <a:pt x="197576" y="423234"/>
                  </a:cubicBezTo>
                  <a:lnTo>
                    <a:pt x="175531" y="423234"/>
                  </a:lnTo>
                  <a:cubicBezTo>
                    <a:pt x="159937" y="423234"/>
                    <a:pt x="147340" y="410579"/>
                    <a:pt x="147340" y="395087"/>
                  </a:cubicBezTo>
                  <a:lnTo>
                    <a:pt x="147340" y="359116"/>
                  </a:lnTo>
                  <a:cubicBezTo>
                    <a:pt x="147340" y="343547"/>
                    <a:pt x="159937" y="330969"/>
                    <a:pt x="175531" y="330969"/>
                  </a:cubicBezTo>
                  <a:lnTo>
                    <a:pt x="197576" y="330969"/>
                  </a:lnTo>
                  <a:cubicBezTo>
                    <a:pt x="203568" y="330969"/>
                    <a:pt x="210481" y="325524"/>
                    <a:pt x="212785" y="319158"/>
                  </a:cubicBezTo>
                  <a:cubicBezTo>
                    <a:pt x="214859" y="313252"/>
                    <a:pt x="217317" y="307347"/>
                    <a:pt x="220082" y="301671"/>
                  </a:cubicBezTo>
                  <a:cubicBezTo>
                    <a:pt x="223001" y="295612"/>
                    <a:pt x="221926" y="286946"/>
                    <a:pt x="217701" y="282727"/>
                  </a:cubicBezTo>
                  <a:lnTo>
                    <a:pt x="202031" y="267005"/>
                  </a:lnTo>
                  <a:cubicBezTo>
                    <a:pt x="196731" y="261713"/>
                    <a:pt x="193735" y="254657"/>
                    <a:pt x="193735" y="247141"/>
                  </a:cubicBezTo>
                  <a:cubicBezTo>
                    <a:pt x="193735" y="239624"/>
                    <a:pt x="196731" y="232492"/>
                    <a:pt x="202031" y="227200"/>
                  </a:cubicBezTo>
                  <a:lnTo>
                    <a:pt x="227533" y="201737"/>
                  </a:lnTo>
                  <a:cubicBezTo>
                    <a:pt x="232834" y="196445"/>
                    <a:pt x="239977" y="193530"/>
                    <a:pt x="247505" y="193530"/>
                  </a:cubicBezTo>
                  <a:cubicBezTo>
                    <a:pt x="255033" y="193530"/>
                    <a:pt x="262099" y="196445"/>
                    <a:pt x="267400" y="201737"/>
                  </a:cubicBezTo>
                  <a:lnTo>
                    <a:pt x="283070" y="217383"/>
                  </a:lnTo>
                  <a:cubicBezTo>
                    <a:pt x="285604" y="219913"/>
                    <a:pt x="289829" y="221447"/>
                    <a:pt x="294361" y="221447"/>
                  </a:cubicBezTo>
                  <a:cubicBezTo>
                    <a:pt x="297126" y="221447"/>
                    <a:pt x="299892" y="220834"/>
                    <a:pt x="302119" y="219760"/>
                  </a:cubicBezTo>
                  <a:cubicBezTo>
                    <a:pt x="307804" y="216999"/>
                    <a:pt x="313718" y="214545"/>
                    <a:pt x="319633" y="212474"/>
                  </a:cubicBezTo>
                  <a:cubicBezTo>
                    <a:pt x="326008" y="210173"/>
                    <a:pt x="331462" y="203270"/>
                    <a:pt x="331462" y="197288"/>
                  </a:cubicBezTo>
                  <a:lnTo>
                    <a:pt x="331462" y="175277"/>
                  </a:lnTo>
                  <a:cubicBezTo>
                    <a:pt x="331462" y="159707"/>
                    <a:pt x="344060" y="147129"/>
                    <a:pt x="359653" y="147129"/>
                  </a:cubicBezTo>
                  <a:close/>
                  <a:moveTo>
                    <a:pt x="119929" y="83135"/>
                  </a:moveTo>
                  <a:cubicBezTo>
                    <a:pt x="99723" y="83135"/>
                    <a:pt x="83282" y="99547"/>
                    <a:pt x="83282" y="119717"/>
                  </a:cubicBezTo>
                  <a:cubicBezTo>
                    <a:pt x="83282" y="139888"/>
                    <a:pt x="99723" y="156223"/>
                    <a:pt x="119929" y="156223"/>
                  </a:cubicBezTo>
                  <a:cubicBezTo>
                    <a:pt x="140135" y="156223"/>
                    <a:pt x="156499" y="139888"/>
                    <a:pt x="156499" y="119717"/>
                  </a:cubicBezTo>
                  <a:cubicBezTo>
                    <a:pt x="156499" y="99547"/>
                    <a:pt x="140135" y="83135"/>
                    <a:pt x="119929" y="83135"/>
                  </a:cubicBezTo>
                  <a:close/>
                  <a:moveTo>
                    <a:pt x="110863" y="0"/>
                  </a:moveTo>
                  <a:lnTo>
                    <a:pt x="128918" y="0"/>
                  </a:lnTo>
                  <a:cubicBezTo>
                    <a:pt x="139290" y="0"/>
                    <a:pt x="147741" y="8436"/>
                    <a:pt x="147741" y="18790"/>
                  </a:cubicBezTo>
                  <a:lnTo>
                    <a:pt x="147741" y="29834"/>
                  </a:lnTo>
                  <a:cubicBezTo>
                    <a:pt x="147741" y="30677"/>
                    <a:pt x="148970" y="32441"/>
                    <a:pt x="150507" y="32978"/>
                  </a:cubicBezTo>
                  <a:cubicBezTo>
                    <a:pt x="153580" y="34052"/>
                    <a:pt x="156730" y="35355"/>
                    <a:pt x="159726" y="36813"/>
                  </a:cubicBezTo>
                  <a:cubicBezTo>
                    <a:pt x="160187" y="37043"/>
                    <a:pt x="160878" y="37196"/>
                    <a:pt x="161570" y="37196"/>
                  </a:cubicBezTo>
                  <a:cubicBezTo>
                    <a:pt x="162799" y="37196"/>
                    <a:pt x="163644" y="36813"/>
                    <a:pt x="163875" y="36583"/>
                  </a:cubicBezTo>
                  <a:lnTo>
                    <a:pt x="171711" y="28683"/>
                  </a:lnTo>
                  <a:cubicBezTo>
                    <a:pt x="175245" y="25155"/>
                    <a:pt x="180009" y="23238"/>
                    <a:pt x="185002" y="23238"/>
                  </a:cubicBezTo>
                  <a:cubicBezTo>
                    <a:pt x="189996" y="23238"/>
                    <a:pt x="194760" y="25155"/>
                    <a:pt x="198294" y="28683"/>
                  </a:cubicBezTo>
                  <a:lnTo>
                    <a:pt x="211047" y="41414"/>
                  </a:lnTo>
                  <a:cubicBezTo>
                    <a:pt x="218346" y="48777"/>
                    <a:pt x="218346" y="60664"/>
                    <a:pt x="211047" y="67950"/>
                  </a:cubicBezTo>
                  <a:lnTo>
                    <a:pt x="203211" y="75849"/>
                  </a:lnTo>
                  <a:cubicBezTo>
                    <a:pt x="202596" y="76386"/>
                    <a:pt x="202212" y="78533"/>
                    <a:pt x="202903" y="79914"/>
                  </a:cubicBezTo>
                  <a:cubicBezTo>
                    <a:pt x="204363" y="82905"/>
                    <a:pt x="205669" y="86049"/>
                    <a:pt x="206822" y="89117"/>
                  </a:cubicBezTo>
                  <a:cubicBezTo>
                    <a:pt x="207359" y="90651"/>
                    <a:pt x="209127" y="91878"/>
                    <a:pt x="209972" y="91878"/>
                  </a:cubicBezTo>
                  <a:lnTo>
                    <a:pt x="220958" y="91878"/>
                  </a:lnTo>
                  <a:cubicBezTo>
                    <a:pt x="231330" y="91878"/>
                    <a:pt x="239781" y="100314"/>
                    <a:pt x="239781" y="110668"/>
                  </a:cubicBezTo>
                  <a:lnTo>
                    <a:pt x="239781" y="128691"/>
                  </a:lnTo>
                  <a:cubicBezTo>
                    <a:pt x="239781" y="139044"/>
                    <a:pt x="231330" y="147480"/>
                    <a:pt x="220958" y="147480"/>
                  </a:cubicBezTo>
                  <a:lnTo>
                    <a:pt x="209972" y="147480"/>
                  </a:lnTo>
                  <a:cubicBezTo>
                    <a:pt x="209127" y="147480"/>
                    <a:pt x="207359" y="148707"/>
                    <a:pt x="206822" y="150241"/>
                  </a:cubicBezTo>
                  <a:cubicBezTo>
                    <a:pt x="205669" y="153309"/>
                    <a:pt x="204363" y="156453"/>
                    <a:pt x="202903" y="159444"/>
                  </a:cubicBezTo>
                  <a:cubicBezTo>
                    <a:pt x="202212" y="160825"/>
                    <a:pt x="202596" y="162972"/>
                    <a:pt x="203211" y="163586"/>
                  </a:cubicBezTo>
                  <a:lnTo>
                    <a:pt x="211047" y="171408"/>
                  </a:lnTo>
                  <a:cubicBezTo>
                    <a:pt x="218346" y="178694"/>
                    <a:pt x="218346" y="190658"/>
                    <a:pt x="211047" y="197944"/>
                  </a:cubicBezTo>
                  <a:lnTo>
                    <a:pt x="198294" y="210675"/>
                  </a:lnTo>
                  <a:cubicBezTo>
                    <a:pt x="194760" y="214203"/>
                    <a:pt x="189996" y="216197"/>
                    <a:pt x="185002" y="216197"/>
                  </a:cubicBezTo>
                  <a:cubicBezTo>
                    <a:pt x="180009" y="216197"/>
                    <a:pt x="175245" y="214203"/>
                    <a:pt x="171711" y="210675"/>
                  </a:cubicBezTo>
                  <a:lnTo>
                    <a:pt x="163875" y="202852"/>
                  </a:lnTo>
                  <a:cubicBezTo>
                    <a:pt x="163644" y="202622"/>
                    <a:pt x="162799" y="202239"/>
                    <a:pt x="161570" y="202239"/>
                  </a:cubicBezTo>
                  <a:cubicBezTo>
                    <a:pt x="160878" y="202239"/>
                    <a:pt x="160187" y="202316"/>
                    <a:pt x="159726" y="202546"/>
                  </a:cubicBezTo>
                  <a:cubicBezTo>
                    <a:pt x="156730" y="204003"/>
                    <a:pt x="153580" y="205307"/>
                    <a:pt x="150507" y="206457"/>
                  </a:cubicBezTo>
                  <a:cubicBezTo>
                    <a:pt x="148970" y="206994"/>
                    <a:pt x="147741" y="208758"/>
                    <a:pt x="147741" y="209601"/>
                  </a:cubicBezTo>
                  <a:lnTo>
                    <a:pt x="147741" y="220568"/>
                  </a:lnTo>
                  <a:cubicBezTo>
                    <a:pt x="147741" y="230922"/>
                    <a:pt x="139290" y="239358"/>
                    <a:pt x="128918" y="239358"/>
                  </a:cubicBezTo>
                  <a:lnTo>
                    <a:pt x="110863" y="239358"/>
                  </a:lnTo>
                  <a:cubicBezTo>
                    <a:pt x="100491" y="239358"/>
                    <a:pt x="92117" y="230922"/>
                    <a:pt x="92117" y="220568"/>
                  </a:cubicBezTo>
                  <a:lnTo>
                    <a:pt x="92117" y="209601"/>
                  </a:lnTo>
                  <a:cubicBezTo>
                    <a:pt x="92117" y="208758"/>
                    <a:pt x="90811" y="206917"/>
                    <a:pt x="89274" y="206457"/>
                  </a:cubicBezTo>
                  <a:cubicBezTo>
                    <a:pt x="86201" y="205307"/>
                    <a:pt x="83051" y="204003"/>
                    <a:pt x="80055" y="202546"/>
                  </a:cubicBezTo>
                  <a:cubicBezTo>
                    <a:pt x="79594" y="202316"/>
                    <a:pt x="78903" y="202239"/>
                    <a:pt x="78211" y="202239"/>
                  </a:cubicBezTo>
                  <a:cubicBezTo>
                    <a:pt x="77059" y="202239"/>
                    <a:pt x="76214" y="202622"/>
                    <a:pt x="75983" y="202852"/>
                  </a:cubicBezTo>
                  <a:lnTo>
                    <a:pt x="68070" y="210675"/>
                  </a:lnTo>
                  <a:cubicBezTo>
                    <a:pt x="64536" y="214203"/>
                    <a:pt x="59849" y="216197"/>
                    <a:pt x="54779" y="216197"/>
                  </a:cubicBezTo>
                  <a:cubicBezTo>
                    <a:pt x="49785" y="216197"/>
                    <a:pt x="45021" y="214203"/>
                    <a:pt x="41487" y="210675"/>
                  </a:cubicBezTo>
                  <a:lnTo>
                    <a:pt x="28734" y="197944"/>
                  </a:lnTo>
                  <a:cubicBezTo>
                    <a:pt x="25200" y="194416"/>
                    <a:pt x="23279" y="189661"/>
                    <a:pt x="23279" y="184676"/>
                  </a:cubicBezTo>
                  <a:cubicBezTo>
                    <a:pt x="23279" y="179691"/>
                    <a:pt x="25200" y="174936"/>
                    <a:pt x="28734" y="171408"/>
                  </a:cubicBezTo>
                  <a:lnTo>
                    <a:pt x="36570" y="163586"/>
                  </a:lnTo>
                  <a:cubicBezTo>
                    <a:pt x="37185" y="162972"/>
                    <a:pt x="37569" y="160825"/>
                    <a:pt x="36878" y="159444"/>
                  </a:cubicBezTo>
                  <a:cubicBezTo>
                    <a:pt x="35418" y="156453"/>
                    <a:pt x="34112" y="153386"/>
                    <a:pt x="33036" y="150241"/>
                  </a:cubicBezTo>
                  <a:cubicBezTo>
                    <a:pt x="32498" y="148707"/>
                    <a:pt x="30654" y="147480"/>
                    <a:pt x="29886" y="147480"/>
                  </a:cubicBezTo>
                  <a:lnTo>
                    <a:pt x="18823" y="147480"/>
                  </a:lnTo>
                  <a:cubicBezTo>
                    <a:pt x="8451" y="147480"/>
                    <a:pt x="0" y="139044"/>
                    <a:pt x="0" y="128691"/>
                  </a:cubicBezTo>
                  <a:lnTo>
                    <a:pt x="0" y="110668"/>
                  </a:lnTo>
                  <a:cubicBezTo>
                    <a:pt x="0" y="100314"/>
                    <a:pt x="8451" y="91955"/>
                    <a:pt x="18823" y="91955"/>
                  </a:cubicBezTo>
                  <a:lnTo>
                    <a:pt x="29886" y="91955"/>
                  </a:lnTo>
                  <a:cubicBezTo>
                    <a:pt x="30654" y="91955"/>
                    <a:pt x="32498" y="90651"/>
                    <a:pt x="33036" y="89194"/>
                  </a:cubicBezTo>
                  <a:cubicBezTo>
                    <a:pt x="34112" y="86049"/>
                    <a:pt x="35418" y="82905"/>
                    <a:pt x="36878" y="79914"/>
                  </a:cubicBezTo>
                  <a:cubicBezTo>
                    <a:pt x="37569" y="78533"/>
                    <a:pt x="37185" y="76386"/>
                    <a:pt x="36570" y="75849"/>
                  </a:cubicBezTo>
                  <a:lnTo>
                    <a:pt x="28734" y="67950"/>
                  </a:lnTo>
                  <a:cubicBezTo>
                    <a:pt x="21435" y="60664"/>
                    <a:pt x="21435" y="48777"/>
                    <a:pt x="28734" y="41414"/>
                  </a:cubicBezTo>
                  <a:lnTo>
                    <a:pt x="41487" y="28683"/>
                  </a:lnTo>
                  <a:cubicBezTo>
                    <a:pt x="45021" y="25155"/>
                    <a:pt x="49785" y="23238"/>
                    <a:pt x="54779" y="23238"/>
                  </a:cubicBezTo>
                  <a:cubicBezTo>
                    <a:pt x="59849" y="23238"/>
                    <a:pt x="64536" y="25155"/>
                    <a:pt x="68070" y="28683"/>
                  </a:cubicBezTo>
                  <a:lnTo>
                    <a:pt x="75983" y="36583"/>
                  </a:lnTo>
                  <a:cubicBezTo>
                    <a:pt x="76214" y="36813"/>
                    <a:pt x="77059" y="37196"/>
                    <a:pt x="78211" y="37196"/>
                  </a:cubicBezTo>
                  <a:cubicBezTo>
                    <a:pt x="78903" y="37196"/>
                    <a:pt x="79594" y="37043"/>
                    <a:pt x="80055" y="36813"/>
                  </a:cubicBezTo>
                  <a:cubicBezTo>
                    <a:pt x="83051" y="35355"/>
                    <a:pt x="86201" y="34052"/>
                    <a:pt x="89351" y="32978"/>
                  </a:cubicBezTo>
                  <a:cubicBezTo>
                    <a:pt x="90811" y="32441"/>
                    <a:pt x="92117" y="30677"/>
                    <a:pt x="92117" y="29834"/>
                  </a:cubicBezTo>
                  <a:lnTo>
                    <a:pt x="92117" y="18790"/>
                  </a:lnTo>
                  <a:cubicBezTo>
                    <a:pt x="92117" y="8436"/>
                    <a:pt x="100491" y="0"/>
                    <a:pt x="110863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30" name="îṣ1ïḑè"/>
            <p:cNvSpPr/>
            <p:nvPr/>
          </p:nvSpPr>
          <p:spPr>
            <a:xfrm>
              <a:off x="3531700" y="1931982"/>
              <a:ext cx="699901" cy="69990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>
                  <a:solidFill>
                    <a:schemeClr val="tx1"/>
                  </a:solidFill>
                  <a:ea typeface="阿里巴巴普惠体" panose="00020600040101010101" pitchFamily="18" charset="-122"/>
                </a:rPr>
                <a:t>1</a:t>
              </a:r>
              <a:endParaRPr lang="id-ID" sz="2400" b="1" dirty="0">
                <a:solidFill>
                  <a:schemeClr val="tx1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31" name="íṣļîḑé"/>
            <p:cNvSpPr/>
            <p:nvPr/>
          </p:nvSpPr>
          <p:spPr>
            <a:xfrm>
              <a:off x="5311706" y="2471592"/>
              <a:ext cx="511482" cy="462812"/>
            </a:xfrm>
            <a:custGeom>
              <a:avLst/>
              <a:gdLst>
                <a:gd name="connsiteX0" fmla="*/ 407586 w 606580"/>
                <a:gd name="connsiteY0" fmla="*/ 252695 h 548858"/>
                <a:gd name="connsiteX1" fmla="*/ 502285 w 606580"/>
                <a:gd name="connsiteY1" fmla="*/ 252695 h 548858"/>
                <a:gd name="connsiteX2" fmla="*/ 502285 w 606580"/>
                <a:gd name="connsiteY2" fmla="*/ 346759 h 548858"/>
                <a:gd name="connsiteX3" fmla="*/ 407586 w 606580"/>
                <a:gd name="connsiteY3" fmla="*/ 346759 h 548858"/>
                <a:gd name="connsiteX4" fmla="*/ 104296 w 606580"/>
                <a:gd name="connsiteY4" fmla="*/ 205698 h 548858"/>
                <a:gd name="connsiteX5" fmla="*/ 199065 w 606580"/>
                <a:gd name="connsiteY5" fmla="*/ 205698 h 548858"/>
                <a:gd name="connsiteX6" fmla="*/ 199065 w 606580"/>
                <a:gd name="connsiteY6" fmla="*/ 346758 h 548858"/>
                <a:gd name="connsiteX7" fmla="*/ 104296 w 606580"/>
                <a:gd name="connsiteY7" fmla="*/ 346758 h 548858"/>
                <a:gd name="connsiteX8" fmla="*/ 255870 w 606580"/>
                <a:gd name="connsiteY8" fmla="*/ 96040 h 548858"/>
                <a:gd name="connsiteX9" fmla="*/ 350710 w 606580"/>
                <a:gd name="connsiteY9" fmla="*/ 96040 h 548858"/>
                <a:gd name="connsiteX10" fmla="*/ 350710 w 606580"/>
                <a:gd name="connsiteY10" fmla="*/ 346759 h 548858"/>
                <a:gd name="connsiteX11" fmla="*/ 255870 w 606580"/>
                <a:gd name="connsiteY11" fmla="*/ 346759 h 548858"/>
                <a:gd name="connsiteX12" fmla="*/ 37882 w 606580"/>
                <a:gd name="connsiteY12" fmla="*/ 37913 h 548858"/>
                <a:gd name="connsiteX13" fmla="*/ 37882 w 606580"/>
                <a:gd name="connsiteY13" fmla="*/ 405363 h 548858"/>
                <a:gd name="connsiteX14" fmla="*/ 568698 w 606580"/>
                <a:gd name="connsiteY14" fmla="*/ 405363 h 548858"/>
                <a:gd name="connsiteX15" fmla="*/ 568698 w 606580"/>
                <a:gd name="connsiteY15" fmla="*/ 37913 h 548858"/>
                <a:gd name="connsiteX16" fmla="*/ 18941 w 606580"/>
                <a:gd name="connsiteY16" fmla="*/ 0 h 548858"/>
                <a:gd name="connsiteX17" fmla="*/ 587639 w 606580"/>
                <a:gd name="connsiteY17" fmla="*/ 0 h 548858"/>
                <a:gd name="connsiteX18" fmla="*/ 606580 w 606580"/>
                <a:gd name="connsiteY18" fmla="*/ 18910 h 548858"/>
                <a:gd name="connsiteX19" fmla="*/ 606580 w 606580"/>
                <a:gd name="connsiteY19" fmla="*/ 424274 h 548858"/>
                <a:gd name="connsiteX20" fmla="*/ 587639 w 606580"/>
                <a:gd name="connsiteY20" fmla="*/ 443184 h 548858"/>
                <a:gd name="connsiteX21" fmla="*/ 322278 w 606580"/>
                <a:gd name="connsiteY21" fmla="*/ 443184 h 548858"/>
                <a:gd name="connsiteX22" fmla="*/ 322278 w 606580"/>
                <a:gd name="connsiteY22" fmla="*/ 511038 h 548858"/>
                <a:gd name="connsiteX23" fmla="*/ 450223 w 606580"/>
                <a:gd name="connsiteY23" fmla="*/ 511038 h 548858"/>
                <a:gd name="connsiteX24" fmla="*/ 450223 w 606580"/>
                <a:gd name="connsiteY24" fmla="*/ 548858 h 548858"/>
                <a:gd name="connsiteX25" fmla="*/ 156357 w 606580"/>
                <a:gd name="connsiteY25" fmla="*/ 548858 h 548858"/>
                <a:gd name="connsiteX26" fmla="*/ 156357 w 606580"/>
                <a:gd name="connsiteY26" fmla="*/ 511038 h 548858"/>
                <a:gd name="connsiteX27" fmla="*/ 284302 w 606580"/>
                <a:gd name="connsiteY27" fmla="*/ 511038 h 548858"/>
                <a:gd name="connsiteX28" fmla="*/ 284302 w 606580"/>
                <a:gd name="connsiteY28" fmla="*/ 443184 h 548858"/>
                <a:gd name="connsiteX29" fmla="*/ 18941 w 606580"/>
                <a:gd name="connsiteY29" fmla="*/ 443184 h 548858"/>
                <a:gd name="connsiteX30" fmla="*/ 0 w 606580"/>
                <a:gd name="connsiteY30" fmla="*/ 424274 h 548858"/>
                <a:gd name="connsiteX31" fmla="*/ 0 w 606580"/>
                <a:gd name="connsiteY31" fmla="*/ 18910 h 548858"/>
                <a:gd name="connsiteX32" fmla="*/ 18941 w 606580"/>
                <a:gd name="connsiteY32" fmla="*/ 0 h 54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6580" h="548858">
                  <a:moveTo>
                    <a:pt x="407586" y="252695"/>
                  </a:moveTo>
                  <a:lnTo>
                    <a:pt x="502285" y="252695"/>
                  </a:lnTo>
                  <a:lnTo>
                    <a:pt x="502285" y="346759"/>
                  </a:lnTo>
                  <a:lnTo>
                    <a:pt x="407586" y="346759"/>
                  </a:lnTo>
                  <a:close/>
                  <a:moveTo>
                    <a:pt x="104296" y="205698"/>
                  </a:moveTo>
                  <a:lnTo>
                    <a:pt x="199065" y="205698"/>
                  </a:lnTo>
                  <a:lnTo>
                    <a:pt x="199065" y="346758"/>
                  </a:lnTo>
                  <a:lnTo>
                    <a:pt x="104296" y="346758"/>
                  </a:lnTo>
                  <a:close/>
                  <a:moveTo>
                    <a:pt x="255870" y="96040"/>
                  </a:moveTo>
                  <a:lnTo>
                    <a:pt x="350710" y="96040"/>
                  </a:lnTo>
                  <a:lnTo>
                    <a:pt x="350710" y="346759"/>
                  </a:lnTo>
                  <a:lnTo>
                    <a:pt x="255870" y="346759"/>
                  </a:lnTo>
                  <a:close/>
                  <a:moveTo>
                    <a:pt x="37882" y="37913"/>
                  </a:moveTo>
                  <a:lnTo>
                    <a:pt x="37882" y="405363"/>
                  </a:lnTo>
                  <a:lnTo>
                    <a:pt x="568698" y="405363"/>
                  </a:lnTo>
                  <a:lnTo>
                    <a:pt x="568698" y="37913"/>
                  </a:lnTo>
                  <a:close/>
                  <a:moveTo>
                    <a:pt x="18941" y="0"/>
                  </a:moveTo>
                  <a:lnTo>
                    <a:pt x="587639" y="0"/>
                  </a:lnTo>
                  <a:cubicBezTo>
                    <a:pt x="598038" y="0"/>
                    <a:pt x="606580" y="8528"/>
                    <a:pt x="606580" y="18910"/>
                  </a:cubicBezTo>
                  <a:lnTo>
                    <a:pt x="606580" y="424274"/>
                  </a:lnTo>
                  <a:cubicBezTo>
                    <a:pt x="606580" y="434656"/>
                    <a:pt x="598038" y="443184"/>
                    <a:pt x="587639" y="443184"/>
                  </a:cubicBezTo>
                  <a:lnTo>
                    <a:pt x="322278" y="443184"/>
                  </a:lnTo>
                  <a:lnTo>
                    <a:pt x="322278" y="511038"/>
                  </a:lnTo>
                  <a:lnTo>
                    <a:pt x="450223" y="511038"/>
                  </a:lnTo>
                  <a:lnTo>
                    <a:pt x="450223" y="548858"/>
                  </a:lnTo>
                  <a:lnTo>
                    <a:pt x="156357" y="548858"/>
                  </a:lnTo>
                  <a:lnTo>
                    <a:pt x="156357" y="511038"/>
                  </a:lnTo>
                  <a:lnTo>
                    <a:pt x="284302" y="511038"/>
                  </a:lnTo>
                  <a:lnTo>
                    <a:pt x="284302" y="443184"/>
                  </a:lnTo>
                  <a:lnTo>
                    <a:pt x="18941" y="443184"/>
                  </a:lnTo>
                  <a:cubicBezTo>
                    <a:pt x="8542" y="443184"/>
                    <a:pt x="0" y="434656"/>
                    <a:pt x="0" y="424274"/>
                  </a:cubicBezTo>
                  <a:lnTo>
                    <a:pt x="0" y="18910"/>
                  </a:lnTo>
                  <a:cubicBezTo>
                    <a:pt x="0" y="8528"/>
                    <a:pt x="8542" y="0"/>
                    <a:pt x="18941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200" kern="1200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32" name="îṩľîďe"/>
            <p:cNvSpPr/>
            <p:nvPr/>
          </p:nvSpPr>
          <p:spPr>
            <a:xfrm>
              <a:off x="8057128" y="4588923"/>
              <a:ext cx="699901" cy="699901"/>
            </a:xfrm>
            <a:prstGeom prst="ellipse">
              <a:avLst/>
            </a:prstGeom>
            <a:solidFill>
              <a:srgbClr val="A8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>
                  <a:ea typeface="阿里巴巴普惠体" panose="00020600040101010101" pitchFamily="18" charset="-122"/>
                </a:rPr>
                <a:t>4</a:t>
              </a:r>
              <a:endParaRPr lang="id-ID" sz="24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33" name="îšlíḑê"/>
            <p:cNvSpPr/>
            <p:nvPr/>
          </p:nvSpPr>
          <p:spPr bwMode="auto">
            <a:xfrm>
              <a:off x="5948192" y="3963720"/>
              <a:ext cx="494134" cy="574474"/>
            </a:xfrm>
            <a:custGeom>
              <a:avLst/>
              <a:gdLst>
                <a:gd name="connsiteX0" fmla="*/ 327615 w 521993"/>
                <a:gd name="connsiteY0" fmla="*/ 466652 h 606863"/>
                <a:gd name="connsiteX1" fmla="*/ 327615 w 521993"/>
                <a:gd name="connsiteY1" fmla="*/ 490607 h 606863"/>
                <a:gd name="connsiteX2" fmla="*/ 372201 w 521993"/>
                <a:gd name="connsiteY2" fmla="*/ 504537 h 606863"/>
                <a:gd name="connsiteX3" fmla="*/ 416917 w 521993"/>
                <a:gd name="connsiteY3" fmla="*/ 490607 h 606863"/>
                <a:gd name="connsiteX4" fmla="*/ 416917 w 521993"/>
                <a:gd name="connsiteY4" fmla="*/ 466652 h 606863"/>
                <a:gd name="connsiteX5" fmla="*/ 173129 w 521993"/>
                <a:gd name="connsiteY5" fmla="*/ 327483 h 606863"/>
                <a:gd name="connsiteX6" fmla="*/ 183819 w 521993"/>
                <a:gd name="connsiteY6" fmla="*/ 328394 h 606863"/>
                <a:gd name="connsiteX7" fmla="*/ 235315 w 521993"/>
                <a:gd name="connsiteY7" fmla="*/ 353260 h 606863"/>
                <a:gd name="connsiteX8" fmla="*/ 242355 w 521993"/>
                <a:gd name="connsiteY8" fmla="*/ 359379 h 606863"/>
                <a:gd name="connsiteX9" fmla="*/ 260997 w 521993"/>
                <a:gd name="connsiteY9" fmla="*/ 408459 h 606863"/>
                <a:gd name="connsiteX10" fmla="*/ 279640 w 521993"/>
                <a:gd name="connsiteY10" fmla="*/ 359379 h 606863"/>
                <a:gd name="connsiteX11" fmla="*/ 286680 w 521993"/>
                <a:gd name="connsiteY11" fmla="*/ 353260 h 606863"/>
                <a:gd name="connsiteX12" fmla="*/ 338175 w 521993"/>
                <a:gd name="connsiteY12" fmla="*/ 328394 h 606863"/>
                <a:gd name="connsiteX13" fmla="*/ 348865 w 521993"/>
                <a:gd name="connsiteY13" fmla="*/ 327483 h 606863"/>
                <a:gd name="connsiteX14" fmla="*/ 349387 w 521993"/>
                <a:gd name="connsiteY14" fmla="*/ 327743 h 606863"/>
                <a:gd name="connsiteX15" fmla="*/ 470368 w 521993"/>
                <a:gd name="connsiteY15" fmla="*/ 395440 h 606863"/>
                <a:gd name="connsiteX16" fmla="*/ 521863 w 521993"/>
                <a:gd name="connsiteY16" fmla="*/ 517816 h 606863"/>
                <a:gd name="connsiteX17" fmla="*/ 521472 w 521993"/>
                <a:gd name="connsiteY17" fmla="*/ 522633 h 606863"/>
                <a:gd name="connsiteX18" fmla="*/ 260997 w 521993"/>
                <a:gd name="connsiteY18" fmla="*/ 606863 h 606863"/>
                <a:gd name="connsiteX19" fmla="*/ 522 w 521993"/>
                <a:gd name="connsiteY19" fmla="*/ 522633 h 606863"/>
                <a:gd name="connsiteX20" fmla="*/ 131 w 521993"/>
                <a:gd name="connsiteY20" fmla="*/ 517816 h 606863"/>
                <a:gd name="connsiteX21" fmla="*/ 51757 w 521993"/>
                <a:gd name="connsiteY21" fmla="*/ 395440 h 606863"/>
                <a:gd name="connsiteX22" fmla="*/ 173129 w 521993"/>
                <a:gd name="connsiteY22" fmla="*/ 327483 h 606863"/>
                <a:gd name="connsiteX23" fmla="*/ 218629 w 521993"/>
                <a:gd name="connsiteY23" fmla="*/ 102451 h 606863"/>
                <a:gd name="connsiteX24" fmla="*/ 141455 w 521993"/>
                <a:gd name="connsiteY24" fmla="*/ 142547 h 606863"/>
                <a:gd name="connsiteX25" fmla="*/ 140933 w 521993"/>
                <a:gd name="connsiteY25" fmla="*/ 171186 h 606863"/>
                <a:gd name="connsiteX26" fmla="*/ 188907 w 521993"/>
                <a:gd name="connsiteY26" fmla="*/ 287046 h 606863"/>
                <a:gd name="connsiteX27" fmla="*/ 260997 w 521993"/>
                <a:gd name="connsiteY27" fmla="*/ 321805 h 606863"/>
                <a:gd name="connsiteX28" fmla="*/ 333088 w 521993"/>
                <a:gd name="connsiteY28" fmla="*/ 287046 h 606863"/>
                <a:gd name="connsiteX29" fmla="*/ 381061 w 521993"/>
                <a:gd name="connsiteY29" fmla="*/ 171186 h 606863"/>
                <a:gd name="connsiteX30" fmla="*/ 380409 w 521993"/>
                <a:gd name="connsiteY30" fmla="*/ 139032 h 606863"/>
                <a:gd name="connsiteX31" fmla="*/ 218629 w 521993"/>
                <a:gd name="connsiteY31" fmla="*/ 102451 h 606863"/>
                <a:gd name="connsiteX32" fmla="*/ 260997 w 521993"/>
                <a:gd name="connsiteY32" fmla="*/ 0 h 606863"/>
                <a:gd name="connsiteX33" fmla="*/ 401528 w 521993"/>
                <a:gd name="connsiteY33" fmla="*/ 171186 h 606863"/>
                <a:gd name="connsiteX34" fmla="*/ 260997 w 521993"/>
                <a:gd name="connsiteY34" fmla="*/ 342243 h 606863"/>
                <a:gd name="connsiteX35" fmla="*/ 120466 w 521993"/>
                <a:gd name="connsiteY35" fmla="*/ 171186 h 606863"/>
                <a:gd name="connsiteX36" fmla="*/ 260997 w 521993"/>
                <a:gd name="connsiteY36" fmla="*/ 0 h 606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21993" h="606863">
                  <a:moveTo>
                    <a:pt x="327615" y="466652"/>
                  </a:moveTo>
                  <a:lnTo>
                    <a:pt x="327615" y="490607"/>
                  </a:lnTo>
                  <a:lnTo>
                    <a:pt x="372201" y="504537"/>
                  </a:lnTo>
                  <a:lnTo>
                    <a:pt x="416917" y="490607"/>
                  </a:lnTo>
                  <a:lnTo>
                    <a:pt x="416917" y="466652"/>
                  </a:lnTo>
                  <a:close/>
                  <a:moveTo>
                    <a:pt x="173129" y="327483"/>
                  </a:moveTo>
                  <a:cubicBezTo>
                    <a:pt x="176649" y="325660"/>
                    <a:pt x="180821" y="326051"/>
                    <a:pt x="183819" y="328394"/>
                  </a:cubicBezTo>
                  <a:cubicBezTo>
                    <a:pt x="199724" y="340762"/>
                    <a:pt x="216933" y="349224"/>
                    <a:pt x="235315" y="353260"/>
                  </a:cubicBezTo>
                  <a:cubicBezTo>
                    <a:pt x="238574" y="353911"/>
                    <a:pt x="241181" y="356254"/>
                    <a:pt x="242355" y="359379"/>
                  </a:cubicBezTo>
                  <a:lnTo>
                    <a:pt x="260997" y="408459"/>
                  </a:lnTo>
                  <a:lnTo>
                    <a:pt x="279640" y="359379"/>
                  </a:lnTo>
                  <a:cubicBezTo>
                    <a:pt x="280813" y="356254"/>
                    <a:pt x="283551" y="353911"/>
                    <a:pt x="286680" y="353260"/>
                  </a:cubicBezTo>
                  <a:cubicBezTo>
                    <a:pt x="305062" y="349224"/>
                    <a:pt x="322401" y="340762"/>
                    <a:pt x="338175" y="328394"/>
                  </a:cubicBezTo>
                  <a:cubicBezTo>
                    <a:pt x="341174" y="326051"/>
                    <a:pt x="345476" y="325660"/>
                    <a:pt x="348865" y="327483"/>
                  </a:cubicBezTo>
                  <a:lnTo>
                    <a:pt x="349387" y="327743"/>
                  </a:lnTo>
                  <a:cubicBezTo>
                    <a:pt x="379502" y="343886"/>
                    <a:pt x="450161" y="381510"/>
                    <a:pt x="470368" y="395440"/>
                  </a:cubicBezTo>
                  <a:cubicBezTo>
                    <a:pt x="499962" y="415880"/>
                    <a:pt x="514693" y="473162"/>
                    <a:pt x="521863" y="517816"/>
                  </a:cubicBezTo>
                  <a:cubicBezTo>
                    <a:pt x="522124" y="519378"/>
                    <a:pt x="521994" y="521070"/>
                    <a:pt x="521472" y="522633"/>
                  </a:cubicBezTo>
                  <a:cubicBezTo>
                    <a:pt x="520299" y="526017"/>
                    <a:pt x="489011" y="606863"/>
                    <a:pt x="260997" y="606863"/>
                  </a:cubicBezTo>
                  <a:cubicBezTo>
                    <a:pt x="33114" y="606863"/>
                    <a:pt x="1826" y="526017"/>
                    <a:pt x="522" y="522633"/>
                  </a:cubicBezTo>
                  <a:cubicBezTo>
                    <a:pt x="1" y="521070"/>
                    <a:pt x="-130" y="519378"/>
                    <a:pt x="131" y="517816"/>
                  </a:cubicBezTo>
                  <a:cubicBezTo>
                    <a:pt x="2738" y="501412"/>
                    <a:pt x="17731" y="418353"/>
                    <a:pt x="51757" y="395440"/>
                  </a:cubicBezTo>
                  <a:cubicBezTo>
                    <a:pt x="71964" y="381771"/>
                    <a:pt x="143405" y="343366"/>
                    <a:pt x="173129" y="327483"/>
                  </a:cubicBezTo>
                  <a:close/>
                  <a:moveTo>
                    <a:pt x="218629" y="102451"/>
                  </a:moveTo>
                  <a:cubicBezTo>
                    <a:pt x="172742" y="101540"/>
                    <a:pt x="151362" y="123540"/>
                    <a:pt x="141455" y="142547"/>
                  </a:cubicBezTo>
                  <a:cubicBezTo>
                    <a:pt x="141064" y="152050"/>
                    <a:pt x="140933" y="161553"/>
                    <a:pt x="140933" y="171186"/>
                  </a:cubicBezTo>
                  <a:cubicBezTo>
                    <a:pt x="140933" y="230158"/>
                    <a:pt x="167006" y="266738"/>
                    <a:pt x="188907" y="287046"/>
                  </a:cubicBezTo>
                  <a:cubicBezTo>
                    <a:pt x="216544" y="312562"/>
                    <a:pt x="247179" y="321805"/>
                    <a:pt x="260997" y="321805"/>
                  </a:cubicBezTo>
                  <a:cubicBezTo>
                    <a:pt x="274816" y="321805"/>
                    <a:pt x="305451" y="312562"/>
                    <a:pt x="333088" y="287046"/>
                  </a:cubicBezTo>
                  <a:cubicBezTo>
                    <a:pt x="354989" y="266738"/>
                    <a:pt x="381061" y="230158"/>
                    <a:pt x="381061" y="171186"/>
                  </a:cubicBezTo>
                  <a:cubicBezTo>
                    <a:pt x="381061" y="160381"/>
                    <a:pt x="380931" y="149576"/>
                    <a:pt x="380409" y="139032"/>
                  </a:cubicBezTo>
                  <a:cubicBezTo>
                    <a:pt x="246006" y="168713"/>
                    <a:pt x="218629" y="102451"/>
                    <a:pt x="218629" y="102451"/>
                  </a:cubicBezTo>
                  <a:close/>
                  <a:moveTo>
                    <a:pt x="260997" y="0"/>
                  </a:moveTo>
                  <a:cubicBezTo>
                    <a:pt x="388753" y="0"/>
                    <a:pt x="401528" y="76676"/>
                    <a:pt x="401528" y="171186"/>
                  </a:cubicBezTo>
                  <a:cubicBezTo>
                    <a:pt x="401528" y="291863"/>
                    <a:pt x="302974" y="342243"/>
                    <a:pt x="260997" y="342243"/>
                  </a:cubicBezTo>
                  <a:cubicBezTo>
                    <a:pt x="219020" y="342243"/>
                    <a:pt x="120466" y="291863"/>
                    <a:pt x="120466" y="171186"/>
                  </a:cubicBezTo>
                  <a:cubicBezTo>
                    <a:pt x="120466" y="76676"/>
                    <a:pt x="133242" y="0"/>
                    <a:pt x="26099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grpSp>
          <p:nvGrpSpPr>
            <p:cNvPr id="34" name="ïşḻídè"/>
            <p:cNvGrpSpPr/>
            <p:nvPr/>
          </p:nvGrpSpPr>
          <p:grpSpPr>
            <a:xfrm>
              <a:off x="8943623" y="4385754"/>
              <a:ext cx="2575277" cy="1308761"/>
              <a:chOff x="7761000" y="2989360"/>
              <a:chExt cx="3759488" cy="1308761"/>
            </a:xfrm>
          </p:grpSpPr>
          <p:sp>
            <p:nvSpPr>
              <p:cNvPr id="44" name="isḷidè"/>
              <p:cNvSpPr txBox="1"/>
              <p:nvPr/>
            </p:nvSpPr>
            <p:spPr bwMode="auto">
              <a:xfrm>
                <a:off x="7761000" y="2989360"/>
                <a:ext cx="375948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b="1" dirty="0"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b="1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45" name="is1iḑe"/>
              <p:cNvSpPr/>
              <p:nvPr/>
            </p:nvSpPr>
            <p:spPr bwMode="auto">
              <a:xfrm>
                <a:off x="7761000" y="3431166"/>
                <a:ext cx="3759488" cy="866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35" name="işļîḓè"/>
            <p:cNvGrpSpPr/>
            <p:nvPr/>
          </p:nvGrpSpPr>
          <p:grpSpPr>
            <a:xfrm>
              <a:off x="8943623" y="1853911"/>
              <a:ext cx="2575277" cy="1308761"/>
              <a:chOff x="7761000" y="2989360"/>
              <a:chExt cx="3759488" cy="1308761"/>
            </a:xfrm>
          </p:grpSpPr>
          <p:sp>
            <p:nvSpPr>
              <p:cNvPr id="42" name="iṩlîďê"/>
              <p:cNvSpPr txBox="1"/>
              <p:nvPr/>
            </p:nvSpPr>
            <p:spPr bwMode="auto">
              <a:xfrm>
                <a:off x="7761000" y="2989360"/>
                <a:ext cx="375948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b="1" dirty="0"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b="1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43" name="íSḷiḑe"/>
              <p:cNvSpPr/>
              <p:nvPr/>
            </p:nvSpPr>
            <p:spPr bwMode="auto">
              <a:xfrm>
                <a:off x="7761000" y="3431166"/>
                <a:ext cx="3759488" cy="866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36" name="íś1ïdè"/>
            <p:cNvGrpSpPr/>
            <p:nvPr/>
          </p:nvGrpSpPr>
          <p:grpSpPr>
            <a:xfrm>
              <a:off x="660400" y="1817682"/>
              <a:ext cx="2575277" cy="1308761"/>
              <a:chOff x="7761000" y="2989360"/>
              <a:chExt cx="3759488" cy="1308761"/>
            </a:xfrm>
          </p:grpSpPr>
          <p:sp>
            <p:nvSpPr>
              <p:cNvPr id="40" name="iŝḷïde"/>
              <p:cNvSpPr txBox="1"/>
              <p:nvPr/>
            </p:nvSpPr>
            <p:spPr bwMode="auto">
              <a:xfrm>
                <a:off x="7761000" y="2989360"/>
                <a:ext cx="375948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b="1" dirty="0"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b="1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41" name="i$1iďé"/>
              <p:cNvSpPr/>
              <p:nvPr/>
            </p:nvSpPr>
            <p:spPr bwMode="auto">
              <a:xfrm>
                <a:off x="7761000" y="3431166"/>
                <a:ext cx="3759488" cy="866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37" name="isļïďé"/>
            <p:cNvGrpSpPr/>
            <p:nvPr/>
          </p:nvGrpSpPr>
          <p:grpSpPr>
            <a:xfrm>
              <a:off x="660400" y="4474623"/>
              <a:ext cx="2575277" cy="1308761"/>
              <a:chOff x="7761000" y="2989360"/>
              <a:chExt cx="3759488" cy="1308761"/>
            </a:xfrm>
          </p:grpSpPr>
          <p:sp>
            <p:nvSpPr>
              <p:cNvPr id="38" name="ïṡļíḑè"/>
              <p:cNvSpPr txBox="1"/>
              <p:nvPr/>
            </p:nvSpPr>
            <p:spPr bwMode="auto">
              <a:xfrm>
                <a:off x="7761000" y="2989360"/>
                <a:ext cx="375948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b="1" dirty="0">
                    <a:ea typeface="阿里巴巴普惠体" panose="00020600040101010101" pitchFamily="18" charset="-122"/>
                  </a:rPr>
                  <a:t>添加标题内容</a:t>
                </a:r>
                <a:endParaRPr lang="en-US" altLang="zh-CN" b="1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39" name="îṣḻiḋè"/>
              <p:cNvSpPr/>
              <p:nvPr/>
            </p:nvSpPr>
            <p:spPr bwMode="auto">
              <a:xfrm>
                <a:off x="7761000" y="3431166"/>
                <a:ext cx="3759488" cy="866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  <a:endParaRPr lang="en-US" altLang="zh-CN" sz="1100" dirty="0">
                  <a:ea typeface="阿里巴巴普惠体" panose="00020600040101010101" pitchFamily="18" charset="-122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</p:grpSp>
      </p:grpSp>
      <p:sp>
        <p:nvSpPr>
          <p:cNvPr id="46" name="标题 1"/>
          <p:cNvSpPr txBox="1"/>
          <p:nvPr/>
        </p:nvSpPr>
        <p:spPr>
          <a:xfrm>
            <a:off x="669925" y="403129"/>
            <a:ext cx="2154289" cy="579119"/>
          </a:xfrm>
          <a:prstGeom prst="rect">
            <a:avLst/>
          </a:prstGeom>
          <a:solidFill>
            <a:srgbClr val="C00000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dist"/>
            <a:r>
              <a:rPr lang="zh-CN" altLang="en-US" dirty="0">
                <a:solidFill>
                  <a:schemeClr val="bg1"/>
                </a:solidFill>
                <a:ea typeface="阿里巴巴普惠体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461774" y="1130300"/>
            <a:ext cx="47151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目录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CONTENT</a:t>
            </a:r>
            <a:endParaRPr kumimoji="0" lang="zh-CN" alt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3573780" y="1887551"/>
            <a:ext cx="47684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Arial" panose="020B0604020202020204" pitchFamily="34" charset="0"/>
              </a:rPr>
              <a:t>请在此处添加内容，简单即可，不必繁琐</a:t>
            </a:r>
          </a:p>
        </p:txBody>
      </p:sp>
      <p:grpSp>
        <p:nvGrpSpPr>
          <p:cNvPr id="25" name="组合 24"/>
          <p:cNvGrpSpPr/>
          <p:nvPr/>
        </p:nvGrpSpPr>
        <p:grpSpPr>
          <a:xfrm>
            <a:off x="675882" y="2303765"/>
            <a:ext cx="3315673" cy="1015663"/>
            <a:chOff x="675882" y="2199593"/>
            <a:chExt cx="3315673" cy="1015663"/>
          </a:xfrm>
        </p:grpSpPr>
        <p:grpSp>
          <p:nvGrpSpPr>
            <p:cNvPr id="23" name="组合 22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18" name="直接连接符 17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箭头连接符 11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文本框 21"/>
              <p:cNvSpPr txBox="1"/>
              <p:nvPr/>
            </p:nvSpPr>
            <p:spPr>
              <a:xfrm>
                <a:off x="1886116" y="2532350"/>
                <a:ext cx="188578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di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+mn-cs"/>
                  </a:rPr>
                  <a:t>添加标题</a:t>
                </a:r>
              </a:p>
            </p:txBody>
          </p:sp>
        </p:grpSp>
        <p:sp>
          <p:nvSpPr>
            <p:cNvPr id="24" name="文本框 23"/>
            <p:cNvSpPr txBox="1"/>
            <p:nvPr/>
          </p:nvSpPr>
          <p:spPr>
            <a:xfrm>
              <a:off x="675882" y="2199593"/>
              <a:ext cx="80305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+mn-cs"/>
                </a:rPr>
                <a:t>1</a:t>
              </a:r>
              <a:endPara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7539148" y="2303765"/>
            <a:ext cx="3315673" cy="1015663"/>
            <a:chOff x="675882" y="2199593"/>
            <a:chExt cx="3315673" cy="1015663"/>
          </a:xfrm>
        </p:grpSpPr>
        <p:grpSp>
          <p:nvGrpSpPr>
            <p:cNvPr id="27" name="组合 26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29" name="直接连接符 28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箭头连接符 30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文本框 27"/>
            <p:cNvSpPr txBox="1"/>
            <p:nvPr/>
          </p:nvSpPr>
          <p:spPr>
            <a:xfrm>
              <a:off x="675882" y="2199593"/>
              <a:ext cx="80305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+mn-cs"/>
                </a:rPr>
                <a:t>2</a:t>
              </a:r>
              <a:endPara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675882" y="4283640"/>
            <a:ext cx="3315673" cy="1015663"/>
            <a:chOff x="675882" y="2199593"/>
            <a:chExt cx="3315673" cy="1015663"/>
          </a:xfrm>
        </p:grpSpPr>
        <p:grpSp>
          <p:nvGrpSpPr>
            <p:cNvPr id="44" name="组合 43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46" name="直接连接符 45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箭头连接符 47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直接连接符 48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5" name="文本框 44"/>
            <p:cNvSpPr txBox="1"/>
            <p:nvPr/>
          </p:nvSpPr>
          <p:spPr>
            <a:xfrm>
              <a:off x="675882" y="2199593"/>
              <a:ext cx="80305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+mn-cs"/>
                </a:rPr>
                <a:t>3</a:t>
              </a:r>
              <a:endPara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endParaRP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7539148" y="4283639"/>
            <a:ext cx="3315673" cy="1015663"/>
            <a:chOff x="675882" y="2199593"/>
            <a:chExt cx="3315673" cy="1015663"/>
          </a:xfrm>
        </p:grpSpPr>
        <p:grpSp>
          <p:nvGrpSpPr>
            <p:cNvPr id="52" name="组合 51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54" name="直接连接符 53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直接连接符 54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直接箭头连接符 55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直接连接符 56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文本框 52"/>
            <p:cNvSpPr txBox="1"/>
            <p:nvPr/>
          </p:nvSpPr>
          <p:spPr>
            <a:xfrm>
              <a:off x="675882" y="2199593"/>
              <a:ext cx="80305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+mn-cs"/>
                </a:rPr>
                <a:t>4</a:t>
              </a:r>
              <a:endParaRPr kumimoji="0" lang="zh-CN" alt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endParaRPr>
            </a:p>
          </p:txBody>
        </p:sp>
      </p:grpSp>
      <p:sp>
        <p:nvSpPr>
          <p:cNvPr id="67" name="文本框 66"/>
          <p:cNvSpPr txBox="1"/>
          <p:nvPr/>
        </p:nvSpPr>
        <p:spPr>
          <a:xfrm>
            <a:off x="1886116" y="4616396"/>
            <a:ext cx="18857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rPr>
              <a:t>添加标题</a:t>
            </a:r>
          </a:p>
        </p:txBody>
      </p:sp>
      <p:sp>
        <p:nvSpPr>
          <p:cNvPr id="68" name="文本框 67"/>
          <p:cNvSpPr txBox="1"/>
          <p:nvPr/>
        </p:nvSpPr>
        <p:spPr>
          <a:xfrm>
            <a:off x="8655622" y="2597513"/>
            <a:ext cx="18857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rPr>
              <a:t>添加标题</a:t>
            </a:r>
          </a:p>
        </p:txBody>
      </p:sp>
      <p:sp>
        <p:nvSpPr>
          <p:cNvPr id="69" name="文本框 68"/>
          <p:cNvSpPr txBox="1"/>
          <p:nvPr/>
        </p:nvSpPr>
        <p:spPr>
          <a:xfrm>
            <a:off x="8655622" y="4616396"/>
            <a:ext cx="18857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di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7" grpId="0"/>
      <p:bldP spid="68" grpId="0"/>
      <p:bldP spid="6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阿里巴巴普惠体" panose="00020600040101010101" pitchFamily="18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8000" dirty="0">
                <a:solidFill>
                  <a:srgbClr val="C00000"/>
                </a:solidFill>
              </a:rPr>
              <a:t>Thanks</a:t>
            </a:r>
            <a:br>
              <a:rPr lang="en-US" altLang="zh-CN" dirty="0">
                <a:solidFill>
                  <a:srgbClr val="C00000"/>
                </a:solidFill>
              </a:rPr>
            </a:br>
            <a:r>
              <a:rPr lang="en-US" altLang="zh-CN" b="0" dirty="0">
                <a:solidFill>
                  <a:srgbClr val="C00000"/>
                </a:solidFill>
              </a:rPr>
              <a:t>315</a:t>
            </a:r>
            <a:r>
              <a:rPr lang="zh-CN" altLang="en-US" b="0" dirty="0">
                <a:solidFill>
                  <a:srgbClr val="C00000"/>
                </a:solidFill>
              </a:rPr>
              <a:t>为我的权益做主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\ www.bangongziyuan.com\</a:t>
            </a:r>
            <a:endParaRPr lang="en-US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10123952" y="1028700"/>
            <a:ext cx="309880" cy="6451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zh-CN" altLang="en-US" spc="-150" dirty="0">
              <a:solidFill>
                <a:srgbClr val="C00000"/>
              </a:solidFill>
              <a:ea typeface="阿里巴巴普惠体" panose="00020600040101010101" pitchFamily="18" charset="-122"/>
            </a:endParaRPr>
          </a:p>
          <a:p>
            <a:endParaRPr lang="zh-CN" altLang="en-US" spc="-150" dirty="0">
              <a:solidFill>
                <a:srgbClr val="C00000"/>
              </a:solidFill>
              <a:ea typeface="阿里巴巴普惠体" panose="00020600040101010101" pitchFamily="18" charset="-122"/>
            </a:endParaRPr>
          </a:p>
        </p:txBody>
      </p:sp>
      <p:sp>
        <p:nvSpPr>
          <p:cNvPr id="9" name="文本占位符 5"/>
          <p:cNvSpPr txBox="1"/>
          <p:nvPr/>
        </p:nvSpPr>
        <p:spPr>
          <a:xfrm>
            <a:off x="3477789" y="4731454"/>
            <a:ext cx="3305339" cy="296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\    </a:t>
            </a:r>
            <a:r>
              <a:rPr lang="zh-CN" altLang="en-US" sz="140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汇报人：</a:t>
            </a:r>
            <a:r>
              <a:rPr lang="en-US" altLang="zh-CN" sz="140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xiazaii   \</a:t>
            </a:r>
            <a:endParaRPr lang="en-US" altLang="zh-CN" sz="1400" dirty="0">
              <a:solidFill>
                <a:srgbClr val="3C3C3C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  <p:sp>
        <p:nvSpPr>
          <p:cNvPr id="10" name="文本占位符 6"/>
          <p:cNvSpPr txBox="1"/>
          <p:nvPr/>
        </p:nvSpPr>
        <p:spPr>
          <a:xfrm>
            <a:off x="6382873" y="4731454"/>
            <a:ext cx="2631587" cy="2962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\  </a:t>
            </a:r>
            <a:r>
              <a:rPr lang="zh-CN" altLang="en-US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日期：</a:t>
            </a:r>
            <a:r>
              <a:rPr lang="en-US" altLang="zh-CN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202X</a:t>
            </a:r>
            <a:r>
              <a:rPr lang="zh-CN" altLang="en-US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年</a:t>
            </a:r>
            <a:r>
              <a:rPr lang="en-US" altLang="zh-CN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12</a:t>
            </a:r>
            <a:r>
              <a:rPr lang="zh-CN" altLang="en-US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月</a:t>
            </a:r>
            <a:r>
              <a:rPr lang="en-US" altLang="zh-CN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30</a:t>
            </a:r>
            <a:r>
              <a:rPr lang="zh-CN" altLang="en-US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  <a:sym typeface="阿里巴巴普惠体" panose="00020600040101010101" pitchFamily="18" charset="-122"/>
              </a:rPr>
              <a:t>日</a:t>
            </a:r>
            <a:r>
              <a:rPr lang="en-US" altLang="zh-CN" sz="1400" dirty="0">
                <a:solidFill>
                  <a:srgbClr val="3C3C3C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\</a:t>
            </a:r>
            <a:endParaRPr lang="en-US" altLang="en-US" sz="1400" dirty="0">
              <a:solidFill>
                <a:srgbClr val="3C3C3C"/>
              </a:solidFill>
              <a:latin typeface="阿里巴巴普惠体 R" panose="00020600040101010101" pitchFamily="18" charset="-122"/>
              <a:ea typeface="阿里巴巴普惠体 R" panose="00020600040101010101" pitchFamily="18" charset="-122"/>
              <a:cs typeface="阿里巴巴普惠体 R" panose="00020600040101010101" pitchFamily="18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 build="p"/>
      <p:bldP spid="8" grpId="0"/>
      <p:bldP spid="9" grpId="0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2723179" y="-524427"/>
            <a:ext cx="6405581" cy="7786747"/>
            <a:chOff x="1478942" y="1316080"/>
            <a:chExt cx="2512613" cy="2432540"/>
          </a:xfrm>
        </p:grpSpPr>
        <p:sp>
          <p:nvSpPr>
            <p:cNvPr id="24" name="文本框 23"/>
            <p:cNvSpPr txBox="1"/>
            <p:nvPr/>
          </p:nvSpPr>
          <p:spPr>
            <a:xfrm>
              <a:off x="1886115" y="1316080"/>
              <a:ext cx="803059" cy="2432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50000" b="1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+mn-cs"/>
                </a:rPr>
                <a:t>1</a:t>
              </a:r>
              <a:endParaRPr kumimoji="0" lang="zh-CN" altLang="en-US" sz="500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  <a:cs typeface="+mn-cs"/>
              </a:endParaRPr>
            </a:p>
          </p:txBody>
        </p:sp>
        <p:grpSp>
          <p:nvGrpSpPr>
            <p:cNvPr id="23" name="组合 22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10" name="直接连接符 9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箭头连接符 11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文本框 21"/>
              <p:cNvSpPr txBox="1"/>
              <p:nvPr/>
            </p:nvSpPr>
            <p:spPr>
              <a:xfrm>
                <a:off x="1886115" y="2595893"/>
                <a:ext cx="1885782" cy="124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di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+mn-cs"/>
                  </a:rPr>
                  <a:t>添加标题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343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31531" y="1448780"/>
            <a:ext cx="10728938" cy="4609120"/>
            <a:chOff x="731531" y="1448780"/>
            <a:chExt cx="10728938" cy="4609120"/>
          </a:xfrm>
        </p:grpSpPr>
        <p:sp>
          <p:nvSpPr>
            <p:cNvPr id="6" name="îŝľíḍé"/>
            <p:cNvSpPr/>
            <p:nvPr/>
          </p:nvSpPr>
          <p:spPr>
            <a:xfrm>
              <a:off x="4476750" y="1448780"/>
              <a:ext cx="3238500" cy="460912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7" name="íṥḻïḋê"/>
            <p:cNvSpPr/>
            <p:nvPr/>
          </p:nvSpPr>
          <p:spPr>
            <a:xfrm>
              <a:off x="8221969" y="1448780"/>
              <a:ext cx="3238500" cy="4609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8" name="íṩļîḓê"/>
            <p:cNvSpPr/>
            <p:nvPr/>
          </p:nvSpPr>
          <p:spPr>
            <a:xfrm>
              <a:off x="731531" y="1448780"/>
              <a:ext cx="3238500" cy="4609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9" name="iSľîḋê"/>
            <p:cNvSpPr/>
            <p:nvPr/>
          </p:nvSpPr>
          <p:spPr>
            <a:xfrm>
              <a:off x="831667" y="1556792"/>
              <a:ext cx="3038232" cy="252028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0" name="ïs1íḍè"/>
            <p:cNvSpPr/>
            <p:nvPr/>
          </p:nvSpPr>
          <p:spPr>
            <a:xfrm>
              <a:off x="4576884" y="1556792"/>
              <a:ext cx="3038232" cy="252028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1" name="işḻiḓe"/>
            <p:cNvSpPr/>
            <p:nvPr/>
          </p:nvSpPr>
          <p:spPr>
            <a:xfrm>
              <a:off x="8322103" y="1556792"/>
              <a:ext cx="3038231" cy="252028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grpSp>
          <p:nvGrpSpPr>
            <p:cNvPr id="12" name="iṩḻiḍe"/>
            <p:cNvGrpSpPr/>
            <p:nvPr/>
          </p:nvGrpSpPr>
          <p:grpSpPr>
            <a:xfrm>
              <a:off x="731531" y="4397442"/>
              <a:ext cx="3238500" cy="1008598"/>
              <a:chOff x="719135" y="1429926"/>
              <a:chExt cx="5549948" cy="1008598"/>
            </a:xfrm>
          </p:grpSpPr>
          <p:sp>
            <p:nvSpPr>
              <p:cNvPr id="19" name="íṣļïdè"/>
              <p:cNvSpPr/>
              <p:nvPr/>
            </p:nvSpPr>
            <p:spPr bwMode="auto">
              <a:xfrm>
                <a:off x="719135" y="1871732"/>
                <a:ext cx="5549948" cy="5667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20" name="ísļîḑé"/>
              <p:cNvSpPr txBox="1"/>
              <p:nvPr/>
            </p:nvSpPr>
            <p:spPr bwMode="auto">
              <a:xfrm>
                <a:off x="719137" y="1429926"/>
                <a:ext cx="5549946" cy="4418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标题</a:t>
                </a:r>
                <a:endParaRPr lang="en-US" altLang="zh-CN" sz="2000" b="1"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3" name="íṡľîḑe"/>
            <p:cNvGrpSpPr/>
            <p:nvPr/>
          </p:nvGrpSpPr>
          <p:grpSpPr>
            <a:xfrm>
              <a:off x="4476750" y="4400622"/>
              <a:ext cx="3238500" cy="1008598"/>
              <a:chOff x="719135" y="1429926"/>
              <a:chExt cx="5549948" cy="1008598"/>
            </a:xfrm>
          </p:grpSpPr>
          <p:sp>
            <p:nvSpPr>
              <p:cNvPr id="17" name="ïśḻïḓê"/>
              <p:cNvSpPr/>
              <p:nvPr/>
            </p:nvSpPr>
            <p:spPr bwMode="auto">
              <a:xfrm>
                <a:off x="719135" y="1871732"/>
                <a:ext cx="5549948" cy="5667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solidFill>
                      <a:schemeClr val="bg1"/>
                    </a:solidFill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18" name="ïşľíḍè"/>
              <p:cNvSpPr txBox="1"/>
              <p:nvPr/>
            </p:nvSpPr>
            <p:spPr bwMode="auto">
              <a:xfrm>
                <a:off x="719137" y="1429926"/>
                <a:ext cx="5549946" cy="4418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rPr>
                  <a:t>添加标题</a:t>
                </a:r>
                <a:endParaRPr lang="en-US" altLang="zh-CN" sz="2000" b="1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4" name="îS1iḋê"/>
            <p:cNvGrpSpPr/>
            <p:nvPr/>
          </p:nvGrpSpPr>
          <p:grpSpPr>
            <a:xfrm>
              <a:off x="8221968" y="4397442"/>
              <a:ext cx="3238500" cy="1008598"/>
              <a:chOff x="719135" y="1429926"/>
              <a:chExt cx="5549948" cy="1008598"/>
            </a:xfrm>
          </p:grpSpPr>
          <p:sp>
            <p:nvSpPr>
              <p:cNvPr id="15" name="îş1íďè"/>
              <p:cNvSpPr/>
              <p:nvPr/>
            </p:nvSpPr>
            <p:spPr bwMode="auto">
              <a:xfrm>
                <a:off x="719135" y="1871732"/>
                <a:ext cx="5549948" cy="5667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850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16" name="iśḷíḍe"/>
              <p:cNvSpPr txBox="1"/>
              <p:nvPr/>
            </p:nvSpPr>
            <p:spPr bwMode="auto">
              <a:xfrm>
                <a:off x="719137" y="1429926"/>
                <a:ext cx="5549946" cy="4418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标题</a:t>
                </a:r>
                <a:endParaRPr lang="en-US" altLang="zh-CN" sz="2000" b="1" dirty="0">
                  <a:ea typeface="阿里巴巴普惠体" panose="00020600040101010101" pitchFamily="18" charset="-122"/>
                </a:endParaRPr>
              </a:p>
            </p:txBody>
          </p:sp>
        </p:grpSp>
      </p:grpSp>
      <p:sp>
        <p:nvSpPr>
          <p:cNvPr id="21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2534914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2552669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  <p:grpSp>
        <p:nvGrpSpPr>
          <p:cNvPr id="5" name="20429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130300"/>
            <a:ext cx="10847388" cy="5013325"/>
            <a:chOff x="673100" y="1130300"/>
            <a:chExt cx="10847388" cy="5013325"/>
          </a:xfrm>
        </p:grpSpPr>
        <p:sp>
          <p:nvSpPr>
            <p:cNvPr id="6" name="îsḻíḋê"/>
            <p:cNvSpPr/>
            <p:nvPr/>
          </p:nvSpPr>
          <p:spPr bwMode="auto">
            <a:xfrm>
              <a:off x="673100" y="2979000"/>
              <a:ext cx="10847388" cy="975152"/>
            </a:xfrm>
            <a:prstGeom prst="flowChartManualOperation">
              <a:avLst/>
            </a:prstGeom>
            <a:gradFill flip="none" rotWithShape="1">
              <a:gsLst>
                <a:gs pos="0">
                  <a:schemeClr val="bg1">
                    <a:lumMod val="95000"/>
                    <a:alpha val="53000"/>
                  </a:schemeClr>
                </a:gs>
                <a:gs pos="100000">
                  <a:schemeClr val="tx1">
                    <a:lumMod val="50000"/>
                    <a:lumOff val="50000"/>
                    <a:alpha val="5000"/>
                  </a:schemeClr>
                </a:gs>
              </a:gsLst>
              <a:lin ang="5400000" scaled="1"/>
              <a:tileRect/>
            </a:gra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dk1"/>
                </a:solidFill>
                <a:ea typeface="阿里巴巴普惠体" panose="00020600040101010101" pitchFamily="18" charset="-122"/>
              </a:endParaRPr>
            </a:p>
          </p:txBody>
        </p:sp>
        <p:sp>
          <p:nvSpPr>
            <p:cNvPr id="7" name="íśļïdè"/>
            <p:cNvSpPr/>
            <p:nvPr/>
          </p:nvSpPr>
          <p:spPr bwMode="auto">
            <a:xfrm>
              <a:off x="673100" y="1359000"/>
              <a:ext cx="10845800" cy="1620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  <a:buSzPct val="25000"/>
              </a:pPr>
              <a:endParaRPr lang="en-US" altLang="zh-CN" dirty="0">
                <a:ea typeface="阿里巴巴普惠体" panose="00020600040101010101" pitchFamily="18" charset="-122"/>
              </a:endParaRPr>
            </a:p>
            <a:p>
              <a:pPr algn="ctr"/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点击输入您的内容，或者通过复制您的文本后，在此框中选择复制粘贴，请言简意赅，简单说明即可，不必繁琐。点击输入您的内容，或者通过复制您的文本后，在此框中选择复制粘贴，请言简意赅，简单说明即可，不必繁琐。点击输入您的内容，或者通过复制您的文本后，在此框中选择复制粘贴，请言简意赅，简单说明即可，不必繁琐。点击输入您的内容，或者通过复制您的文本后，在此框中选择复制粘贴，请言简意赅，简单说明即可，不必繁琐。点击输入您的内容，或者通过复制您的文本后，在此框中选择复制粘贴，请言简意赅，简单说明即可，不必繁琐。</a:t>
              </a:r>
            </a:p>
            <a:p>
              <a:endParaRPr lang="zh-CN" altLang="en-US" sz="1200" dirty="0">
                <a:latin typeface="阿里巴巴普惠体" panose="00020600040101010101" pitchFamily="18" charset="-122"/>
                <a:ea typeface="阿里巴巴普惠体" panose="00020600040101010101" pitchFamily="18" charset="-122"/>
                <a:cs typeface="阿里巴巴普惠体" panose="00020600040101010101" pitchFamily="18" charset="-122"/>
              </a:endParaRPr>
            </a:p>
          </p:txBody>
        </p:sp>
        <p:sp>
          <p:nvSpPr>
            <p:cNvPr id="8" name="iSḻíḓé"/>
            <p:cNvSpPr/>
            <p:nvPr/>
          </p:nvSpPr>
          <p:spPr bwMode="auto">
            <a:xfrm>
              <a:off x="4566000" y="1130300"/>
              <a:ext cx="2655000" cy="450000"/>
            </a:xfrm>
            <a:prstGeom prst="roundRect">
              <a:avLst/>
            </a:prstGeom>
            <a:solidFill>
              <a:srgbClr val="C00000"/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buSzPct val="25000"/>
              </a:pPr>
              <a:r>
                <a:rPr lang="zh-CN" altLang="en-US" b="1" dirty="0">
                  <a:solidFill>
                    <a:schemeClr val="bg1"/>
                  </a:solidFill>
                  <a:ea typeface="阿里巴巴普惠体" panose="00020600040101010101" pitchFamily="18" charset="-122"/>
                </a:rPr>
                <a:t>添加标题内容</a:t>
              </a:r>
              <a:endParaRPr lang="de-DE" altLang="zh-CN" b="1" dirty="0">
                <a:solidFill>
                  <a:schemeClr val="bg1"/>
                </a:solidFill>
                <a:ea typeface="阿里巴巴普惠体" panose="00020600040101010101" pitchFamily="18" charset="-122"/>
              </a:endParaRPr>
            </a:p>
          </p:txBody>
        </p:sp>
        <p:grpSp>
          <p:nvGrpSpPr>
            <p:cNvPr id="9" name="ïṡ1íḋe"/>
            <p:cNvGrpSpPr/>
            <p:nvPr/>
          </p:nvGrpSpPr>
          <p:grpSpPr>
            <a:xfrm>
              <a:off x="2053763" y="3565100"/>
              <a:ext cx="2404498" cy="2572174"/>
              <a:chOff x="2715550" y="3222200"/>
              <a:chExt cx="2404498" cy="2572174"/>
            </a:xfrm>
          </p:grpSpPr>
          <p:grpSp>
            <p:nvGrpSpPr>
              <p:cNvPr id="26" name="iSḻiḋè"/>
              <p:cNvGrpSpPr/>
              <p:nvPr/>
            </p:nvGrpSpPr>
            <p:grpSpPr>
              <a:xfrm>
                <a:off x="3486000" y="3222200"/>
                <a:ext cx="863600" cy="863600"/>
                <a:chOff x="4462645" y="1965241"/>
                <a:chExt cx="1017604" cy="1017604"/>
              </a:xfrm>
            </p:grpSpPr>
            <p:sp>
              <p:nvSpPr>
                <p:cNvPr id="30" name="isľíḑè"/>
                <p:cNvSpPr/>
                <p:nvPr/>
              </p:nvSpPr>
              <p:spPr>
                <a:xfrm>
                  <a:off x="4462645" y="1965241"/>
                  <a:ext cx="1017604" cy="10176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679" h="19679" extrusionOk="0">
                      <a:moveTo>
                        <a:pt x="16796" y="2882"/>
                      </a:moveTo>
                      <a:cubicBezTo>
                        <a:pt x="20639" y="6724"/>
                        <a:pt x="20639" y="12954"/>
                        <a:pt x="16796" y="16796"/>
                      </a:cubicBezTo>
                      <a:cubicBezTo>
                        <a:pt x="12954" y="20639"/>
                        <a:pt x="6724" y="20639"/>
                        <a:pt x="2882" y="16796"/>
                      </a:cubicBezTo>
                      <a:cubicBezTo>
                        <a:pt x="-961" y="12954"/>
                        <a:pt x="-961" y="6724"/>
                        <a:pt x="2882" y="2882"/>
                      </a:cubicBezTo>
                      <a:cubicBezTo>
                        <a:pt x="6724" y="-961"/>
                        <a:pt x="12954" y="-961"/>
                        <a:pt x="16796" y="2882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38100">
                  <a:solidFill>
                    <a:schemeClr val="bg1"/>
                  </a:solidFill>
                  <a:miter lim="400000"/>
                </a:ln>
              </p:spPr>
              <p:txBody>
                <a:bodyPr wrap="none" lIns="19050" tIns="19050" rIns="19050" bIns="19050" anchor="ctr">
                  <a:normAutofit/>
                </a:bodyPr>
                <a:lstStyle/>
                <a:p>
                  <a:pPr lvl="0" algn="ctr"/>
                  <a:endParaRPr lang="zh-CN" altLang="en-US" sz="2000" dirty="0">
                    <a:solidFill>
                      <a:schemeClr val="bg1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31" name="iṧḻïḍe"/>
                <p:cNvSpPr/>
                <p:nvPr/>
              </p:nvSpPr>
              <p:spPr bwMode="auto">
                <a:xfrm>
                  <a:off x="4772753" y="2282693"/>
                  <a:ext cx="397388" cy="382700"/>
                </a:xfrm>
                <a:custGeom>
                  <a:avLst/>
                  <a:gdLst>
                    <a:gd name="connsiteX0" fmla="*/ 216243 w 609050"/>
                    <a:gd name="connsiteY0" fmla="*/ 412730 h 586540"/>
                    <a:gd name="connsiteX1" fmla="*/ 216243 w 609050"/>
                    <a:gd name="connsiteY1" fmla="*/ 456594 h 586540"/>
                    <a:gd name="connsiteX2" fmla="*/ 293953 w 609050"/>
                    <a:gd name="connsiteY2" fmla="*/ 456594 h 586540"/>
                    <a:gd name="connsiteX3" fmla="*/ 293953 w 609050"/>
                    <a:gd name="connsiteY3" fmla="*/ 412730 h 586540"/>
                    <a:gd name="connsiteX4" fmla="*/ 69884 w 609050"/>
                    <a:gd name="connsiteY4" fmla="*/ 412730 h 586540"/>
                    <a:gd name="connsiteX5" fmla="*/ 69884 w 609050"/>
                    <a:gd name="connsiteY5" fmla="*/ 456594 h 586540"/>
                    <a:gd name="connsiteX6" fmla="*/ 147595 w 609050"/>
                    <a:gd name="connsiteY6" fmla="*/ 456594 h 586540"/>
                    <a:gd name="connsiteX7" fmla="*/ 147595 w 609050"/>
                    <a:gd name="connsiteY7" fmla="*/ 412730 h 586540"/>
                    <a:gd name="connsiteX8" fmla="*/ 460769 w 609050"/>
                    <a:gd name="connsiteY8" fmla="*/ 376268 h 586540"/>
                    <a:gd name="connsiteX9" fmla="*/ 460769 w 609050"/>
                    <a:gd name="connsiteY9" fmla="*/ 414786 h 586540"/>
                    <a:gd name="connsiteX10" fmla="*/ 555916 w 609050"/>
                    <a:gd name="connsiteY10" fmla="*/ 414786 h 586540"/>
                    <a:gd name="connsiteX11" fmla="*/ 555916 w 609050"/>
                    <a:gd name="connsiteY11" fmla="*/ 376268 h 586540"/>
                    <a:gd name="connsiteX12" fmla="*/ 216243 w 609050"/>
                    <a:gd name="connsiteY12" fmla="*/ 339670 h 586540"/>
                    <a:gd name="connsiteX13" fmla="*/ 216243 w 609050"/>
                    <a:gd name="connsiteY13" fmla="*/ 383533 h 586540"/>
                    <a:gd name="connsiteX14" fmla="*/ 293953 w 609050"/>
                    <a:gd name="connsiteY14" fmla="*/ 383533 h 586540"/>
                    <a:gd name="connsiteX15" fmla="*/ 293953 w 609050"/>
                    <a:gd name="connsiteY15" fmla="*/ 339670 h 586540"/>
                    <a:gd name="connsiteX16" fmla="*/ 69884 w 609050"/>
                    <a:gd name="connsiteY16" fmla="*/ 339670 h 586540"/>
                    <a:gd name="connsiteX17" fmla="*/ 69884 w 609050"/>
                    <a:gd name="connsiteY17" fmla="*/ 383533 h 586540"/>
                    <a:gd name="connsiteX18" fmla="*/ 147595 w 609050"/>
                    <a:gd name="connsiteY18" fmla="*/ 383533 h 586540"/>
                    <a:gd name="connsiteX19" fmla="*/ 147595 w 609050"/>
                    <a:gd name="connsiteY19" fmla="*/ 339670 h 586540"/>
                    <a:gd name="connsiteX20" fmla="*/ 460769 w 609050"/>
                    <a:gd name="connsiteY20" fmla="*/ 303071 h 586540"/>
                    <a:gd name="connsiteX21" fmla="*/ 460769 w 609050"/>
                    <a:gd name="connsiteY21" fmla="*/ 341726 h 586540"/>
                    <a:gd name="connsiteX22" fmla="*/ 555916 w 609050"/>
                    <a:gd name="connsiteY22" fmla="*/ 341726 h 586540"/>
                    <a:gd name="connsiteX23" fmla="*/ 555916 w 609050"/>
                    <a:gd name="connsiteY23" fmla="*/ 303071 h 586540"/>
                    <a:gd name="connsiteX24" fmla="*/ 216243 w 609050"/>
                    <a:gd name="connsiteY24" fmla="*/ 266609 h 586540"/>
                    <a:gd name="connsiteX25" fmla="*/ 216243 w 609050"/>
                    <a:gd name="connsiteY25" fmla="*/ 310473 h 586540"/>
                    <a:gd name="connsiteX26" fmla="*/ 293953 w 609050"/>
                    <a:gd name="connsiteY26" fmla="*/ 310473 h 586540"/>
                    <a:gd name="connsiteX27" fmla="*/ 293953 w 609050"/>
                    <a:gd name="connsiteY27" fmla="*/ 266609 h 586540"/>
                    <a:gd name="connsiteX28" fmla="*/ 69884 w 609050"/>
                    <a:gd name="connsiteY28" fmla="*/ 266609 h 586540"/>
                    <a:gd name="connsiteX29" fmla="*/ 69884 w 609050"/>
                    <a:gd name="connsiteY29" fmla="*/ 310473 h 586540"/>
                    <a:gd name="connsiteX30" fmla="*/ 147595 w 609050"/>
                    <a:gd name="connsiteY30" fmla="*/ 310473 h 586540"/>
                    <a:gd name="connsiteX31" fmla="*/ 147595 w 609050"/>
                    <a:gd name="connsiteY31" fmla="*/ 266609 h 586540"/>
                    <a:gd name="connsiteX32" fmla="*/ 460769 w 609050"/>
                    <a:gd name="connsiteY32" fmla="*/ 230010 h 586540"/>
                    <a:gd name="connsiteX33" fmla="*/ 460769 w 609050"/>
                    <a:gd name="connsiteY33" fmla="*/ 268528 h 586540"/>
                    <a:gd name="connsiteX34" fmla="*/ 555916 w 609050"/>
                    <a:gd name="connsiteY34" fmla="*/ 268528 h 586540"/>
                    <a:gd name="connsiteX35" fmla="*/ 555916 w 609050"/>
                    <a:gd name="connsiteY35" fmla="*/ 230010 h 586540"/>
                    <a:gd name="connsiteX36" fmla="*/ 216243 w 609050"/>
                    <a:gd name="connsiteY36" fmla="*/ 193549 h 586540"/>
                    <a:gd name="connsiteX37" fmla="*/ 216243 w 609050"/>
                    <a:gd name="connsiteY37" fmla="*/ 237412 h 586540"/>
                    <a:gd name="connsiteX38" fmla="*/ 293953 w 609050"/>
                    <a:gd name="connsiteY38" fmla="*/ 237412 h 586540"/>
                    <a:gd name="connsiteX39" fmla="*/ 293953 w 609050"/>
                    <a:gd name="connsiteY39" fmla="*/ 193549 h 586540"/>
                    <a:gd name="connsiteX40" fmla="*/ 69884 w 609050"/>
                    <a:gd name="connsiteY40" fmla="*/ 193549 h 586540"/>
                    <a:gd name="connsiteX41" fmla="*/ 69884 w 609050"/>
                    <a:gd name="connsiteY41" fmla="*/ 237412 h 586540"/>
                    <a:gd name="connsiteX42" fmla="*/ 147595 w 609050"/>
                    <a:gd name="connsiteY42" fmla="*/ 237412 h 586540"/>
                    <a:gd name="connsiteX43" fmla="*/ 147595 w 609050"/>
                    <a:gd name="connsiteY43" fmla="*/ 193549 h 586540"/>
                    <a:gd name="connsiteX44" fmla="*/ 460769 w 609050"/>
                    <a:gd name="connsiteY44" fmla="*/ 156950 h 586540"/>
                    <a:gd name="connsiteX45" fmla="*/ 460769 w 609050"/>
                    <a:gd name="connsiteY45" fmla="*/ 195468 h 586540"/>
                    <a:gd name="connsiteX46" fmla="*/ 555916 w 609050"/>
                    <a:gd name="connsiteY46" fmla="*/ 195468 h 586540"/>
                    <a:gd name="connsiteX47" fmla="*/ 555916 w 609050"/>
                    <a:gd name="connsiteY47" fmla="*/ 156950 h 586540"/>
                    <a:gd name="connsiteX48" fmla="*/ 192926 w 609050"/>
                    <a:gd name="connsiteY48" fmla="*/ 96251 h 586540"/>
                    <a:gd name="connsiteX49" fmla="*/ 361366 w 609050"/>
                    <a:gd name="connsiteY49" fmla="*/ 96251 h 586540"/>
                    <a:gd name="connsiteX50" fmla="*/ 361366 w 609050"/>
                    <a:gd name="connsiteY50" fmla="*/ 114880 h 586540"/>
                    <a:gd name="connsiteX51" fmla="*/ 192926 w 609050"/>
                    <a:gd name="connsiteY51" fmla="*/ 114880 h 586540"/>
                    <a:gd name="connsiteX52" fmla="*/ 192926 w 609050"/>
                    <a:gd name="connsiteY52" fmla="*/ 49819 h 586540"/>
                    <a:gd name="connsiteX53" fmla="*/ 361366 w 609050"/>
                    <a:gd name="connsiteY53" fmla="*/ 49819 h 586540"/>
                    <a:gd name="connsiteX54" fmla="*/ 361366 w 609050"/>
                    <a:gd name="connsiteY54" fmla="*/ 68307 h 586540"/>
                    <a:gd name="connsiteX55" fmla="*/ 192926 w 609050"/>
                    <a:gd name="connsiteY55" fmla="*/ 68307 h 586540"/>
                    <a:gd name="connsiteX56" fmla="*/ 166130 w 609050"/>
                    <a:gd name="connsiteY56" fmla="*/ 25222 h 586540"/>
                    <a:gd name="connsiteX57" fmla="*/ 166130 w 609050"/>
                    <a:gd name="connsiteY57" fmla="*/ 155716 h 586540"/>
                    <a:gd name="connsiteX58" fmla="*/ 338987 w 609050"/>
                    <a:gd name="connsiteY58" fmla="*/ 155716 h 586540"/>
                    <a:gd name="connsiteX59" fmla="*/ 338987 w 609050"/>
                    <a:gd name="connsiteY59" fmla="*/ 341040 h 586540"/>
                    <a:gd name="connsiteX60" fmla="*/ 338987 w 609050"/>
                    <a:gd name="connsiteY60" fmla="*/ 531710 h 586540"/>
                    <a:gd name="connsiteX61" fmla="*/ 366721 w 609050"/>
                    <a:gd name="connsiteY61" fmla="*/ 531710 h 586540"/>
                    <a:gd name="connsiteX62" fmla="*/ 366721 w 609050"/>
                    <a:gd name="connsiteY62" fmla="*/ 341040 h 586540"/>
                    <a:gd name="connsiteX63" fmla="*/ 366721 w 609050"/>
                    <a:gd name="connsiteY63" fmla="*/ 155305 h 586540"/>
                    <a:gd name="connsiteX64" fmla="*/ 388002 w 609050"/>
                    <a:gd name="connsiteY64" fmla="*/ 143517 h 586540"/>
                    <a:gd name="connsiteX65" fmla="*/ 388002 w 609050"/>
                    <a:gd name="connsiteY65" fmla="*/ 25222 h 586540"/>
                    <a:gd name="connsiteX66" fmla="*/ 140867 w 609050"/>
                    <a:gd name="connsiteY66" fmla="*/ 0 h 586540"/>
                    <a:gd name="connsiteX67" fmla="*/ 413402 w 609050"/>
                    <a:gd name="connsiteY67" fmla="*/ 0 h 586540"/>
                    <a:gd name="connsiteX68" fmla="*/ 413402 w 609050"/>
                    <a:gd name="connsiteY68" fmla="*/ 129398 h 586540"/>
                    <a:gd name="connsiteX69" fmla="*/ 432486 w 609050"/>
                    <a:gd name="connsiteY69" fmla="*/ 118843 h 586540"/>
                    <a:gd name="connsiteX70" fmla="*/ 584199 w 609050"/>
                    <a:gd name="connsiteY70" fmla="*/ 118843 h 586540"/>
                    <a:gd name="connsiteX71" fmla="*/ 584199 w 609050"/>
                    <a:gd name="connsiteY71" fmla="*/ 531710 h 586540"/>
                    <a:gd name="connsiteX72" fmla="*/ 609050 w 609050"/>
                    <a:gd name="connsiteY72" fmla="*/ 531710 h 586540"/>
                    <a:gd name="connsiteX73" fmla="*/ 609050 w 609050"/>
                    <a:gd name="connsiteY73" fmla="*/ 586540 h 586540"/>
                    <a:gd name="connsiteX74" fmla="*/ 0 w 609050"/>
                    <a:gd name="connsiteY74" fmla="*/ 586540 h 586540"/>
                    <a:gd name="connsiteX75" fmla="*/ 0 w 609050"/>
                    <a:gd name="connsiteY75" fmla="*/ 531710 h 586540"/>
                    <a:gd name="connsiteX76" fmla="*/ 24851 w 609050"/>
                    <a:gd name="connsiteY76" fmla="*/ 531710 h 586540"/>
                    <a:gd name="connsiteX77" fmla="*/ 24851 w 609050"/>
                    <a:gd name="connsiteY77" fmla="*/ 155716 h 586540"/>
                    <a:gd name="connsiteX78" fmla="*/ 140867 w 609050"/>
                    <a:gd name="connsiteY78" fmla="*/ 155716 h 586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609050" h="586540">
                      <a:moveTo>
                        <a:pt x="216243" y="412730"/>
                      </a:moveTo>
                      <a:lnTo>
                        <a:pt x="216243" y="456594"/>
                      </a:lnTo>
                      <a:lnTo>
                        <a:pt x="293953" y="456594"/>
                      </a:lnTo>
                      <a:lnTo>
                        <a:pt x="293953" y="412730"/>
                      </a:lnTo>
                      <a:close/>
                      <a:moveTo>
                        <a:pt x="69884" y="412730"/>
                      </a:moveTo>
                      <a:lnTo>
                        <a:pt x="69884" y="456594"/>
                      </a:lnTo>
                      <a:lnTo>
                        <a:pt x="147595" y="456594"/>
                      </a:lnTo>
                      <a:lnTo>
                        <a:pt x="147595" y="412730"/>
                      </a:lnTo>
                      <a:close/>
                      <a:moveTo>
                        <a:pt x="460769" y="376268"/>
                      </a:moveTo>
                      <a:lnTo>
                        <a:pt x="460769" y="414786"/>
                      </a:lnTo>
                      <a:lnTo>
                        <a:pt x="555916" y="414786"/>
                      </a:lnTo>
                      <a:lnTo>
                        <a:pt x="555916" y="376268"/>
                      </a:lnTo>
                      <a:close/>
                      <a:moveTo>
                        <a:pt x="216243" y="339670"/>
                      </a:moveTo>
                      <a:lnTo>
                        <a:pt x="216243" y="383533"/>
                      </a:lnTo>
                      <a:lnTo>
                        <a:pt x="293953" y="383533"/>
                      </a:lnTo>
                      <a:lnTo>
                        <a:pt x="293953" y="339670"/>
                      </a:lnTo>
                      <a:close/>
                      <a:moveTo>
                        <a:pt x="69884" y="339670"/>
                      </a:moveTo>
                      <a:lnTo>
                        <a:pt x="69884" y="383533"/>
                      </a:lnTo>
                      <a:lnTo>
                        <a:pt x="147595" y="383533"/>
                      </a:lnTo>
                      <a:lnTo>
                        <a:pt x="147595" y="339670"/>
                      </a:lnTo>
                      <a:close/>
                      <a:moveTo>
                        <a:pt x="460769" y="303071"/>
                      </a:moveTo>
                      <a:lnTo>
                        <a:pt x="460769" y="341726"/>
                      </a:lnTo>
                      <a:lnTo>
                        <a:pt x="555916" y="341726"/>
                      </a:lnTo>
                      <a:lnTo>
                        <a:pt x="555916" y="303071"/>
                      </a:lnTo>
                      <a:close/>
                      <a:moveTo>
                        <a:pt x="216243" y="266609"/>
                      </a:moveTo>
                      <a:lnTo>
                        <a:pt x="216243" y="310473"/>
                      </a:lnTo>
                      <a:lnTo>
                        <a:pt x="293953" y="310473"/>
                      </a:lnTo>
                      <a:lnTo>
                        <a:pt x="293953" y="266609"/>
                      </a:lnTo>
                      <a:close/>
                      <a:moveTo>
                        <a:pt x="69884" y="266609"/>
                      </a:moveTo>
                      <a:lnTo>
                        <a:pt x="69884" y="310473"/>
                      </a:lnTo>
                      <a:lnTo>
                        <a:pt x="147595" y="310473"/>
                      </a:lnTo>
                      <a:lnTo>
                        <a:pt x="147595" y="266609"/>
                      </a:lnTo>
                      <a:close/>
                      <a:moveTo>
                        <a:pt x="460769" y="230010"/>
                      </a:moveTo>
                      <a:lnTo>
                        <a:pt x="460769" y="268528"/>
                      </a:lnTo>
                      <a:lnTo>
                        <a:pt x="555916" y="268528"/>
                      </a:lnTo>
                      <a:lnTo>
                        <a:pt x="555916" y="230010"/>
                      </a:lnTo>
                      <a:close/>
                      <a:moveTo>
                        <a:pt x="216243" y="193549"/>
                      </a:moveTo>
                      <a:lnTo>
                        <a:pt x="216243" y="237412"/>
                      </a:lnTo>
                      <a:lnTo>
                        <a:pt x="293953" y="237412"/>
                      </a:lnTo>
                      <a:lnTo>
                        <a:pt x="293953" y="193549"/>
                      </a:lnTo>
                      <a:close/>
                      <a:moveTo>
                        <a:pt x="69884" y="193549"/>
                      </a:moveTo>
                      <a:lnTo>
                        <a:pt x="69884" y="237412"/>
                      </a:lnTo>
                      <a:lnTo>
                        <a:pt x="147595" y="237412"/>
                      </a:lnTo>
                      <a:lnTo>
                        <a:pt x="147595" y="193549"/>
                      </a:lnTo>
                      <a:close/>
                      <a:moveTo>
                        <a:pt x="460769" y="156950"/>
                      </a:moveTo>
                      <a:lnTo>
                        <a:pt x="460769" y="195468"/>
                      </a:lnTo>
                      <a:lnTo>
                        <a:pt x="555916" y="195468"/>
                      </a:lnTo>
                      <a:lnTo>
                        <a:pt x="555916" y="156950"/>
                      </a:lnTo>
                      <a:close/>
                      <a:moveTo>
                        <a:pt x="192926" y="96251"/>
                      </a:moveTo>
                      <a:lnTo>
                        <a:pt x="361366" y="96251"/>
                      </a:lnTo>
                      <a:lnTo>
                        <a:pt x="361366" y="114880"/>
                      </a:lnTo>
                      <a:lnTo>
                        <a:pt x="192926" y="114880"/>
                      </a:lnTo>
                      <a:close/>
                      <a:moveTo>
                        <a:pt x="192926" y="49819"/>
                      </a:moveTo>
                      <a:lnTo>
                        <a:pt x="361366" y="49819"/>
                      </a:lnTo>
                      <a:lnTo>
                        <a:pt x="361366" y="68307"/>
                      </a:lnTo>
                      <a:lnTo>
                        <a:pt x="192926" y="68307"/>
                      </a:lnTo>
                      <a:close/>
                      <a:moveTo>
                        <a:pt x="166130" y="25222"/>
                      </a:moveTo>
                      <a:lnTo>
                        <a:pt x="166130" y="155716"/>
                      </a:lnTo>
                      <a:lnTo>
                        <a:pt x="338987" y="155716"/>
                      </a:lnTo>
                      <a:lnTo>
                        <a:pt x="338987" y="341040"/>
                      </a:lnTo>
                      <a:lnTo>
                        <a:pt x="338987" y="531710"/>
                      </a:lnTo>
                      <a:lnTo>
                        <a:pt x="366721" y="531710"/>
                      </a:lnTo>
                      <a:lnTo>
                        <a:pt x="366721" y="341040"/>
                      </a:lnTo>
                      <a:lnTo>
                        <a:pt x="366721" y="155305"/>
                      </a:lnTo>
                      <a:lnTo>
                        <a:pt x="388002" y="143517"/>
                      </a:lnTo>
                      <a:lnTo>
                        <a:pt x="388002" y="25222"/>
                      </a:lnTo>
                      <a:close/>
                      <a:moveTo>
                        <a:pt x="140867" y="0"/>
                      </a:moveTo>
                      <a:lnTo>
                        <a:pt x="413402" y="0"/>
                      </a:lnTo>
                      <a:lnTo>
                        <a:pt x="413402" y="129398"/>
                      </a:lnTo>
                      <a:lnTo>
                        <a:pt x="432486" y="118843"/>
                      </a:lnTo>
                      <a:lnTo>
                        <a:pt x="584199" y="118843"/>
                      </a:lnTo>
                      <a:lnTo>
                        <a:pt x="584199" y="531710"/>
                      </a:lnTo>
                      <a:lnTo>
                        <a:pt x="609050" y="531710"/>
                      </a:lnTo>
                      <a:lnTo>
                        <a:pt x="609050" y="586540"/>
                      </a:lnTo>
                      <a:lnTo>
                        <a:pt x="0" y="586540"/>
                      </a:lnTo>
                      <a:lnTo>
                        <a:pt x="0" y="531710"/>
                      </a:lnTo>
                      <a:lnTo>
                        <a:pt x="24851" y="531710"/>
                      </a:lnTo>
                      <a:lnTo>
                        <a:pt x="24851" y="155716"/>
                      </a:lnTo>
                      <a:lnTo>
                        <a:pt x="140867" y="15571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 dirty="0">
                    <a:ea typeface="阿里巴巴普惠体" panose="00020600040101010101" pitchFamily="18" charset="-122"/>
                  </a:endParaRPr>
                </a:p>
              </p:txBody>
            </p:sp>
          </p:grpSp>
          <p:grpSp>
            <p:nvGrpSpPr>
              <p:cNvPr id="27" name="ïṡḻïḍè"/>
              <p:cNvGrpSpPr/>
              <p:nvPr/>
            </p:nvGrpSpPr>
            <p:grpSpPr>
              <a:xfrm>
                <a:off x="2715550" y="4236170"/>
                <a:ext cx="2404498" cy="1558204"/>
                <a:chOff x="8661000" y="1781570"/>
                <a:chExt cx="2295000" cy="1558204"/>
              </a:xfrm>
            </p:grpSpPr>
            <p:sp>
              <p:nvSpPr>
                <p:cNvPr id="28" name="îṣḷîḓè"/>
                <p:cNvSpPr txBox="1"/>
                <p:nvPr/>
              </p:nvSpPr>
              <p:spPr>
                <a:xfrm>
                  <a:off x="8661000" y="1781570"/>
                  <a:ext cx="2295000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91440" tIns="45720" rIns="91440" bIns="45720" anchor="t" anchorCtr="0">
                  <a:normAutofit lnSpcReduction="10000"/>
                </a:bodyPr>
                <a:lstStyle/>
                <a:p>
                  <a:pPr algn="ctr">
                    <a:buSzPct val="25000"/>
                  </a:pPr>
                  <a:r>
                    <a:rPr lang="zh-CN" altLang="en-US" sz="2000" b="1" dirty="0">
                      <a:ea typeface="阿里巴巴普惠体" panose="00020600040101010101" pitchFamily="18" charset="-122"/>
                    </a:rPr>
                    <a:t>添加标题</a:t>
                  </a:r>
                  <a:endParaRPr lang="de-DE" sz="2000" b="1" dirty="0"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29" name="ï$ḻiḑê"/>
                <p:cNvSpPr txBox="1"/>
                <p:nvPr/>
              </p:nvSpPr>
              <p:spPr>
                <a:xfrm>
                  <a:off x="8661000" y="2174081"/>
                  <a:ext cx="2295000" cy="116569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40" tIns="45720" rIns="91440" bIns="45720" anchor="t" anchorCtr="0">
                  <a:normAutofit/>
                </a:bodyPr>
                <a:lstStyle/>
                <a:p>
                  <a:pPr algn="ctr"/>
                  <a:r>
                    <a:rPr lang="zh-CN" altLang="en-US" sz="1200" dirty="0"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</p:txBody>
            </p:sp>
          </p:grpSp>
        </p:grpSp>
        <p:grpSp>
          <p:nvGrpSpPr>
            <p:cNvPr id="10" name="ïşlíḑê"/>
            <p:cNvGrpSpPr/>
            <p:nvPr/>
          </p:nvGrpSpPr>
          <p:grpSpPr>
            <a:xfrm>
              <a:off x="4955106" y="3565100"/>
              <a:ext cx="2404498" cy="2508040"/>
              <a:chOff x="2715550" y="3222200"/>
              <a:chExt cx="2404498" cy="2508040"/>
            </a:xfrm>
          </p:grpSpPr>
          <p:grpSp>
            <p:nvGrpSpPr>
              <p:cNvPr id="20" name="îśļïḓê"/>
              <p:cNvGrpSpPr/>
              <p:nvPr/>
            </p:nvGrpSpPr>
            <p:grpSpPr>
              <a:xfrm>
                <a:off x="3486000" y="3222200"/>
                <a:ext cx="863600" cy="863600"/>
                <a:chOff x="4462645" y="1965241"/>
                <a:chExt cx="1017604" cy="1017604"/>
              </a:xfrm>
            </p:grpSpPr>
            <p:sp>
              <p:nvSpPr>
                <p:cNvPr id="24" name="î$ľïďe"/>
                <p:cNvSpPr/>
                <p:nvPr/>
              </p:nvSpPr>
              <p:spPr>
                <a:xfrm>
                  <a:off x="4462645" y="1965241"/>
                  <a:ext cx="1017604" cy="10176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679" h="19679" extrusionOk="0">
                      <a:moveTo>
                        <a:pt x="16796" y="2882"/>
                      </a:moveTo>
                      <a:cubicBezTo>
                        <a:pt x="20639" y="6724"/>
                        <a:pt x="20639" y="12954"/>
                        <a:pt x="16796" y="16796"/>
                      </a:cubicBezTo>
                      <a:cubicBezTo>
                        <a:pt x="12954" y="20639"/>
                        <a:pt x="6724" y="20639"/>
                        <a:pt x="2882" y="16796"/>
                      </a:cubicBezTo>
                      <a:cubicBezTo>
                        <a:pt x="-961" y="12954"/>
                        <a:pt x="-961" y="6724"/>
                        <a:pt x="2882" y="2882"/>
                      </a:cubicBezTo>
                      <a:cubicBezTo>
                        <a:pt x="6724" y="-961"/>
                        <a:pt x="12954" y="-961"/>
                        <a:pt x="16796" y="2882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38100">
                  <a:solidFill>
                    <a:schemeClr val="bg1"/>
                  </a:solidFill>
                  <a:miter lim="400000"/>
                </a:ln>
              </p:spPr>
              <p:txBody>
                <a:bodyPr wrap="none" lIns="19050" tIns="19050" rIns="19050" bIns="19050" anchor="ctr">
                  <a:normAutofit/>
                </a:bodyPr>
                <a:lstStyle/>
                <a:p>
                  <a:pPr lvl="0" algn="ctr"/>
                  <a:endParaRPr lang="zh-CN" altLang="en-US" sz="2000" dirty="0">
                    <a:solidFill>
                      <a:schemeClr val="bg1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25" name="ïṩľiḋé"/>
                <p:cNvSpPr/>
                <p:nvPr/>
              </p:nvSpPr>
              <p:spPr bwMode="auto">
                <a:xfrm>
                  <a:off x="4772753" y="2282693"/>
                  <a:ext cx="397388" cy="382700"/>
                </a:xfrm>
                <a:custGeom>
                  <a:avLst/>
                  <a:gdLst>
                    <a:gd name="connsiteX0" fmla="*/ 216243 w 609050"/>
                    <a:gd name="connsiteY0" fmla="*/ 412730 h 586540"/>
                    <a:gd name="connsiteX1" fmla="*/ 216243 w 609050"/>
                    <a:gd name="connsiteY1" fmla="*/ 456594 h 586540"/>
                    <a:gd name="connsiteX2" fmla="*/ 293953 w 609050"/>
                    <a:gd name="connsiteY2" fmla="*/ 456594 h 586540"/>
                    <a:gd name="connsiteX3" fmla="*/ 293953 w 609050"/>
                    <a:gd name="connsiteY3" fmla="*/ 412730 h 586540"/>
                    <a:gd name="connsiteX4" fmla="*/ 69884 w 609050"/>
                    <a:gd name="connsiteY4" fmla="*/ 412730 h 586540"/>
                    <a:gd name="connsiteX5" fmla="*/ 69884 w 609050"/>
                    <a:gd name="connsiteY5" fmla="*/ 456594 h 586540"/>
                    <a:gd name="connsiteX6" fmla="*/ 147595 w 609050"/>
                    <a:gd name="connsiteY6" fmla="*/ 456594 h 586540"/>
                    <a:gd name="connsiteX7" fmla="*/ 147595 w 609050"/>
                    <a:gd name="connsiteY7" fmla="*/ 412730 h 586540"/>
                    <a:gd name="connsiteX8" fmla="*/ 460769 w 609050"/>
                    <a:gd name="connsiteY8" fmla="*/ 376268 h 586540"/>
                    <a:gd name="connsiteX9" fmla="*/ 460769 w 609050"/>
                    <a:gd name="connsiteY9" fmla="*/ 414786 h 586540"/>
                    <a:gd name="connsiteX10" fmla="*/ 555916 w 609050"/>
                    <a:gd name="connsiteY10" fmla="*/ 414786 h 586540"/>
                    <a:gd name="connsiteX11" fmla="*/ 555916 w 609050"/>
                    <a:gd name="connsiteY11" fmla="*/ 376268 h 586540"/>
                    <a:gd name="connsiteX12" fmla="*/ 216243 w 609050"/>
                    <a:gd name="connsiteY12" fmla="*/ 339670 h 586540"/>
                    <a:gd name="connsiteX13" fmla="*/ 216243 w 609050"/>
                    <a:gd name="connsiteY13" fmla="*/ 383533 h 586540"/>
                    <a:gd name="connsiteX14" fmla="*/ 293953 w 609050"/>
                    <a:gd name="connsiteY14" fmla="*/ 383533 h 586540"/>
                    <a:gd name="connsiteX15" fmla="*/ 293953 w 609050"/>
                    <a:gd name="connsiteY15" fmla="*/ 339670 h 586540"/>
                    <a:gd name="connsiteX16" fmla="*/ 69884 w 609050"/>
                    <a:gd name="connsiteY16" fmla="*/ 339670 h 586540"/>
                    <a:gd name="connsiteX17" fmla="*/ 69884 w 609050"/>
                    <a:gd name="connsiteY17" fmla="*/ 383533 h 586540"/>
                    <a:gd name="connsiteX18" fmla="*/ 147595 w 609050"/>
                    <a:gd name="connsiteY18" fmla="*/ 383533 h 586540"/>
                    <a:gd name="connsiteX19" fmla="*/ 147595 w 609050"/>
                    <a:gd name="connsiteY19" fmla="*/ 339670 h 586540"/>
                    <a:gd name="connsiteX20" fmla="*/ 460769 w 609050"/>
                    <a:gd name="connsiteY20" fmla="*/ 303071 h 586540"/>
                    <a:gd name="connsiteX21" fmla="*/ 460769 w 609050"/>
                    <a:gd name="connsiteY21" fmla="*/ 341726 h 586540"/>
                    <a:gd name="connsiteX22" fmla="*/ 555916 w 609050"/>
                    <a:gd name="connsiteY22" fmla="*/ 341726 h 586540"/>
                    <a:gd name="connsiteX23" fmla="*/ 555916 w 609050"/>
                    <a:gd name="connsiteY23" fmla="*/ 303071 h 586540"/>
                    <a:gd name="connsiteX24" fmla="*/ 216243 w 609050"/>
                    <a:gd name="connsiteY24" fmla="*/ 266609 h 586540"/>
                    <a:gd name="connsiteX25" fmla="*/ 216243 w 609050"/>
                    <a:gd name="connsiteY25" fmla="*/ 310473 h 586540"/>
                    <a:gd name="connsiteX26" fmla="*/ 293953 w 609050"/>
                    <a:gd name="connsiteY26" fmla="*/ 310473 h 586540"/>
                    <a:gd name="connsiteX27" fmla="*/ 293953 w 609050"/>
                    <a:gd name="connsiteY27" fmla="*/ 266609 h 586540"/>
                    <a:gd name="connsiteX28" fmla="*/ 69884 w 609050"/>
                    <a:gd name="connsiteY28" fmla="*/ 266609 h 586540"/>
                    <a:gd name="connsiteX29" fmla="*/ 69884 w 609050"/>
                    <a:gd name="connsiteY29" fmla="*/ 310473 h 586540"/>
                    <a:gd name="connsiteX30" fmla="*/ 147595 w 609050"/>
                    <a:gd name="connsiteY30" fmla="*/ 310473 h 586540"/>
                    <a:gd name="connsiteX31" fmla="*/ 147595 w 609050"/>
                    <a:gd name="connsiteY31" fmla="*/ 266609 h 586540"/>
                    <a:gd name="connsiteX32" fmla="*/ 460769 w 609050"/>
                    <a:gd name="connsiteY32" fmla="*/ 230010 h 586540"/>
                    <a:gd name="connsiteX33" fmla="*/ 460769 w 609050"/>
                    <a:gd name="connsiteY33" fmla="*/ 268528 h 586540"/>
                    <a:gd name="connsiteX34" fmla="*/ 555916 w 609050"/>
                    <a:gd name="connsiteY34" fmla="*/ 268528 h 586540"/>
                    <a:gd name="connsiteX35" fmla="*/ 555916 w 609050"/>
                    <a:gd name="connsiteY35" fmla="*/ 230010 h 586540"/>
                    <a:gd name="connsiteX36" fmla="*/ 216243 w 609050"/>
                    <a:gd name="connsiteY36" fmla="*/ 193549 h 586540"/>
                    <a:gd name="connsiteX37" fmla="*/ 216243 w 609050"/>
                    <a:gd name="connsiteY37" fmla="*/ 237412 h 586540"/>
                    <a:gd name="connsiteX38" fmla="*/ 293953 w 609050"/>
                    <a:gd name="connsiteY38" fmla="*/ 237412 h 586540"/>
                    <a:gd name="connsiteX39" fmla="*/ 293953 w 609050"/>
                    <a:gd name="connsiteY39" fmla="*/ 193549 h 586540"/>
                    <a:gd name="connsiteX40" fmla="*/ 69884 w 609050"/>
                    <a:gd name="connsiteY40" fmla="*/ 193549 h 586540"/>
                    <a:gd name="connsiteX41" fmla="*/ 69884 w 609050"/>
                    <a:gd name="connsiteY41" fmla="*/ 237412 h 586540"/>
                    <a:gd name="connsiteX42" fmla="*/ 147595 w 609050"/>
                    <a:gd name="connsiteY42" fmla="*/ 237412 h 586540"/>
                    <a:gd name="connsiteX43" fmla="*/ 147595 w 609050"/>
                    <a:gd name="connsiteY43" fmla="*/ 193549 h 586540"/>
                    <a:gd name="connsiteX44" fmla="*/ 460769 w 609050"/>
                    <a:gd name="connsiteY44" fmla="*/ 156950 h 586540"/>
                    <a:gd name="connsiteX45" fmla="*/ 460769 w 609050"/>
                    <a:gd name="connsiteY45" fmla="*/ 195468 h 586540"/>
                    <a:gd name="connsiteX46" fmla="*/ 555916 w 609050"/>
                    <a:gd name="connsiteY46" fmla="*/ 195468 h 586540"/>
                    <a:gd name="connsiteX47" fmla="*/ 555916 w 609050"/>
                    <a:gd name="connsiteY47" fmla="*/ 156950 h 586540"/>
                    <a:gd name="connsiteX48" fmla="*/ 192926 w 609050"/>
                    <a:gd name="connsiteY48" fmla="*/ 96251 h 586540"/>
                    <a:gd name="connsiteX49" fmla="*/ 361366 w 609050"/>
                    <a:gd name="connsiteY49" fmla="*/ 96251 h 586540"/>
                    <a:gd name="connsiteX50" fmla="*/ 361366 w 609050"/>
                    <a:gd name="connsiteY50" fmla="*/ 114880 h 586540"/>
                    <a:gd name="connsiteX51" fmla="*/ 192926 w 609050"/>
                    <a:gd name="connsiteY51" fmla="*/ 114880 h 586540"/>
                    <a:gd name="connsiteX52" fmla="*/ 192926 w 609050"/>
                    <a:gd name="connsiteY52" fmla="*/ 49819 h 586540"/>
                    <a:gd name="connsiteX53" fmla="*/ 361366 w 609050"/>
                    <a:gd name="connsiteY53" fmla="*/ 49819 h 586540"/>
                    <a:gd name="connsiteX54" fmla="*/ 361366 w 609050"/>
                    <a:gd name="connsiteY54" fmla="*/ 68307 h 586540"/>
                    <a:gd name="connsiteX55" fmla="*/ 192926 w 609050"/>
                    <a:gd name="connsiteY55" fmla="*/ 68307 h 586540"/>
                    <a:gd name="connsiteX56" fmla="*/ 166130 w 609050"/>
                    <a:gd name="connsiteY56" fmla="*/ 25222 h 586540"/>
                    <a:gd name="connsiteX57" fmla="*/ 166130 w 609050"/>
                    <a:gd name="connsiteY57" fmla="*/ 155716 h 586540"/>
                    <a:gd name="connsiteX58" fmla="*/ 338987 w 609050"/>
                    <a:gd name="connsiteY58" fmla="*/ 155716 h 586540"/>
                    <a:gd name="connsiteX59" fmla="*/ 338987 w 609050"/>
                    <a:gd name="connsiteY59" fmla="*/ 341040 h 586540"/>
                    <a:gd name="connsiteX60" fmla="*/ 338987 w 609050"/>
                    <a:gd name="connsiteY60" fmla="*/ 531710 h 586540"/>
                    <a:gd name="connsiteX61" fmla="*/ 366721 w 609050"/>
                    <a:gd name="connsiteY61" fmla="*/ 531710 h 586540"/>
                    <a:gd name="connsiteX62" fmla="*/ 366721 w 609050"/>
                    <a:gd name="connsiteY62" fmla="*/ 341040 h 586540"/>
                    <a:gd name="connsiteX63" fmla="*/ 366721 w 609050"/>
                    <a:gd name="connsiteY63" fmla="*/ 155305 h 586540"/>
                    <a:gd name="connsiteX64" fmla="*/ 388002 w 609050"/>
                    <a:gd name="connsiteY64" fmla="*/ 143517 h 586540"/>
                    <a:gd name="connsiteX65" fmla="*/ 388002 w 609050"/>
                    <a:gd name="connsiteY65" fmla="*/ 25222 h 586540"/>
                    <a:gd name="connsiteX66" fmla="*/ 140867 w 609050"/>
                    <a:gd name="connsiteY66" fmla="*/ 0 h 586540"/>
                    <a:gd name="connsiteX67" fmla="*/ 413402 w 609050"/>
                    <a:gd name="connsiteY67" fmla="*/ 0 h 586540"/>
                    <a:gd name="connsiteX68" fmla="*/ 413402 w 609050"/>
                    <a:gd name="connsiteY68" fmla="*/ 129398 h 586540"/>
                    <a:gd name="connsiteX69" fmla="*/ 432486 w 609050"/>
                    <a:gd name="connsiteY69" fmla="*/ 118843 h 586540"/>
                    <a:gd name="connsiteX70" fmla="*/ 584199 w 609050"/>
                    <a:gd name="connsiteY70" fmla="*/ 118843 h 586540"/>
                    <a:gd name="connsiteX71" fmla="*/ 584199 w 609050"/>
                    <a:gd name="connsiteY71" fmla="*/ 531710 h 586540"/>
                    <a:gd name="connsiteX72" fmla="*/ 609050 w 609050"/>
                    <a:gd name="connsiteY72" fmla="*/ 531710 h 586540"/>
                    <a:gd name="connsiteX73" fmla="*/ 609050 w 609050"/>
                    <a:gd name="connsiteY73" fmla="*/ 586540 h 586540"/>
                    <a:gd name="connsiteX74" fmla="*/ 0 w 609050"/>
                    <a:gd name="connsiteY74" fmla="*/ 586540 h 586540"/>
                    <a:gd name="connsiteX75" fmla="*/ 0 w 609050"/>
                    <a:gd name="connsiteY75" fmla="*/ 531710 h 586540"/>
                    <a:gd name="connsiteX76" fmla="*/ 24851 w 609050"/>
                    <a:gd name="connsiteY76" fmla="*/ 531710 h 586540"/>
                    <a:gd name="connsiteX77" fmla="*/ 24851 w 609050"/>
                    <a:gd name="connsiteY77" fmla="*/ 155716 h 586540"/>
                    <a:gd name="connsiteX78" fmla="*/ 140867 w 609050"/>
                    <a:gd name="connsiteY78" fmla="*/ 155716 h 586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609050" h="586540">
                      <a:moveTo>
                        <a:pt x="216243" y="412730"/>
                      </a:moveTo>
                      <a:lnTo>
                        <a:pt x="216243" y="456594"/>
                      </a:lnTo>
                      <a:lnTo>
                        <a:pt x="293953" y="456594"/>
                      </a:lnTo>
                      <a:lnTo>
                        <a:pt x="293953" y="412730"/>
                      </a:lnTo>
                      <a:close/>
                      <a:moveTo>
                        <a:pt x="69884" y="412730"/>
                      </a:moveTo>
                      <a:lnTo>
                        <a:pt x="69884" y="456594"/>
                      </a:lnTo>
                      <a:lnTo>
                        <a:pt x="147595" y="456594"/>
                      </a:lnTo>
                      <a:lnTo>
                        <a:pt x="147595" y="412730"/>
                      </a:lnTo>
                      <a:close/>
                      <a:moveTo>
                        <a:pt x="460769" y="376268"/>
                      </a:moveTo>
                      <a:lnTo>
                        <a:pt x="460769" y="414786"/>
                      </a:lnTo>
                      <a:lnTo>
                        <a:pt x="555916" y="414786"/>
                      </a:lnTo>
                      <a:lnTo>
                        <a:pt x="555916" y="376268"/>
                      </a:lnTo>
                      <a:close/>
                      <a:moveTo>
                        <a:pt x="216243" y="339670"/>
                      </a:moveTo>
                      <a:lnTo>
                        <a:pt x="216243" y="383533"/>
                      </a:lnTo>
                      <a:lnTo>
                        <a:pt x="293953" y="383533"/>
                      </a:lnTo>
                      <a:lnTo>
                        <a:pt x="293953" y="339670"/>
                      </a:lnTo>
                      <a:close/>
                      <a:moveTo>
                        <a:pt x="69884" y="339670"/>
                      </a:moveTo>
                      <a:lnTo>
                        <a:pt x="69884" y="383533"/>
                      </a:lnTo>
                      <a:lnTo>
                        <a:pt x="147595" y="383533"/>
                      </a:lnTo>
                      <a:lnTo>
                        <a:pt x="147595" y="339670"/>
                      </a:lnTo>
                      <a:close/>
                      <a:moveTo>
                        <a:pt x="460769" y="303071"/>
                      </a:moveTo>
                      <a:lnTo>
                        <a:pt x="460769" y="341726"/>
                      </a:lnTo>
                      <a:lnTo>
                        <a:pt x="555916" y="341726"/>
                      </a:lnTo>
                      <a:lnTo>
                        <a:pt x="555916" y="303071"/>
                      </a:lnTo>
                      <a:close/>
                      <a:moveTo>
                        <a:pt x="216243" y="266609"/>
                      </a:moveTo>
                      <a:lnTo>
                        <a:pt x="216243" y="310473"/>
                      </a:lnTo>
                      <a:lnTo>
                        <a:pt x="293953" y="310473"/>
                      </a:lnTo>
                      <a:lnTo>
                        <a:pt x="293953" y="266609"/>
                      </a:lnTo>
                      <a:close/>
                      <a:moveTo>
                        <a:pt x="69884" y="266609"/>
                      </a:moveTo>
                      <a:lnTo>
                        <a:pt x="69884" y="310473"/>
                      </a:lnTo>
                      <a:lnTo>
                        <a:pt x="147595" y="310473"/>
                      </a:lnTo>
                      <a:lnTo>
                        <a:pt x="147595" y="266609"/>
                      </a:lnTo>
                      <a:close/>
                      <a:moveTo>
                        <a:pt x="460769" y="230010"/>
                      </a:moveTo>
                      <a:lnTo>
                        <a:pt x="460769" y="268528"/>
                      </a:lnTo>
                      <a:lnTo>
                        <a:pt x="555916" y="268528"/>
                      </a:lnTo>
                      <a:lnTo>
                        <a:pt x="555916" y="230010"/>
                      </a:lnTo>
                      <a:close/>
                      <a:moveTo>
                        <a:pt x="216243" y="193549"/>
                      </a:moveTo>
                      <a:lnTo>
                        <a:pt x="216243" y="237412"/>
                      </a:lnTo>
                      <a:lnTo>
                        <a:pt x="293953" y="237412"/>
                      </a:lnTo>
                      <a:lnTo>
                        <a:pt x="293953" y="193549"/>
                      </a:lnTo>
                      <a:close/>
                      <a:moveTo>
                        <a:pt x="69884" y="193549"/>
                      </a:moveTo>
                      <a:lnTo>
                        <a:pt x="69884" y="237412"/>
                      </a:lnTo>
                      <a:lnTo>
                        <a:pt x="147595" y="237412"/>
                      </a:lnTo>
                      <a:lnTo>
                        <a:pt x="147595" y="193549"/>
                      </a:lnTo>
                      <a:close/>
                      <a:moveTo>
                        <a:pt x="460769" y="156950"/>
                      </a:moveTo>
                      <a:lnTo>
                        <a:pt x="460769" y="195468"/>
                      </a:lnTo>
                      <a:lnTo>
                        <a:pt x="555916" y="195468"/>
                      </a:lnTo>
                      <a:lnTo>
                        <a:pt x="555916" y="156950"/>
                      </a:lnTo>
                      <a:close/>
                      <a:moveTo>
                        <a:pt x="192926" y="96251"/>
                      </a:moveTo>
                      <a:lnTo>
                        <a:pt x="361366" y="96251"/>
                      </a:lnTo>
                      <a:lnTo>
                        <a:pt x="361366" y="114880"/>
                      </a:lnTo>
                      <a:lnTo>
                        <a:pt x="192926" y="114880"/>
                      </a:lnTo>
                      <a:close/>
                      <a:moveTo>
                        <a:pt x="192926" y="49819"/>
                      </a:moveTo>
                      <a:lnTo>
                        <a:pt x="361366" y="49819"/>
                      </a:lnTo>
                      <a:lnTo>
                        <a:pt x="361366" y="68307"/>
                      </a:lnTo>
                      <a:lnTo>
                        <a:pt x="192926" y="68307"/>
                      </a:lnTo>
                      <a:close/>
                      <a:moveTo>
                        <a:pt x="166130" y="25222"/>
                      </a:moveTo>
                      <a:lnTo>
                        <a:pt x="166130" y="155716"/>
                      </a:lnTo>
                      <a:lnTo>
                        <a:pt x="338987" y="155716"/>
                      </a:lnTo>
                      <a:lnTo>
                        <a:pt x="338987" y="341040"/>
                      </a:lnTo>
                      <a:lnTo>
                        <a:pt x="338987" y="531710"/>
                      </a:lnTo>
                      <a:lnTo>
                        <a:pt x="366721" y="531710"/>
                      </a:lnTo>
                      <a:lnTo>
                        <a:pt x="366721" y="341040"/>
                      </a:lnTo>
                      <a:lnTo>
                        <a:pt x="366721" y="155305"/>
                      </a:lnTo>
                      <a:lnTo>
                        <a:pt x="388002" y="143517"/>
                      </a:lnTo>
                      <a:lnTo>
                        <a:pt x="388002" y="25222"/>
                      </a:lnTo>
                      <a:close/>
                      <a:moveTo>
                        <a:pt x="140867" y="0"/>
                      </a:moveTo>
                      <a:lnTo>
                        <a:pt x="413402" y="0"/>
                      </a:lnTo>
                      <a:lnTo>
                        <a:pt x="413402" y="129398"/>
                      </a:lnTo>
                      <a:lnTo>
                        <a:pt x="432486" y="118843"/>
                      </a:lnTo>
                      <a:lnTo>
                        <a:pt x="584199" y="118843"/>
                      </a:lnTo>
                      <a:lnTo>
                        <a:pt x="584199" y="531710"/>
                      </a:lnTo>
                      <a:lnTo>
                        <a:pt x="609050" y="531710"/>
                      </a:lnTo>
                      <a:lnTo>
                        <a:pt x="609050" y="586540"/>
                      </a:lnTo>
                      <a:lnTo>
                        <a:pt x="0" y="586540"/>
                      </a:lnTo>
                      <a:lnTo>
                        <a:pt x="0" y="531710"/>
                      </a:lnTo>
                      <a:lnTo>
                        <a:pt x="24851" y="531710"/>
                      </a:lnTo>
                      <a:lnTo>
                        <a:pt x="24851" y="155716"/>
                      </a:lnTo>
                      <a:lnTo>
                        <a:pt x="140867" y="15571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 dirty="0">
                    <a:ea typeface="阿里巴巴普惠体" panose="00020600040101010101" pitchFamily="18" charset="-122"/>
                  </a:endParaRPr>
                </a:p>
              </p:txBody>
            </p:sp>
          </p:grpSp>
          <p:grpSp>
            <p:nvGrpSpPr>
              <p:cNvPr id="21" name="iṩľîḑe"/>
              <p:cNvGrpSpPr/>
              <p:nvPr/>
            </p:nvGrpSpPr>
            <p:grpSpPr>
              <a:xfrm>
                <a:off x="2715550" y="4236170"/>
                <a:ext cx="2404498" cy="1494070"/>
                <a:chOff x="8661000" y="1781570"/>
                <a:chExt cx="2295000" cy="1494070"/>
              </a:xfrm>
            </p:grpSpPr>
            <p:sp>
              <p:nvSpPr>
                <p:cNvPr id="22" name="ísļídé"/>
                <p:cNvSpPr txBox="1"/>
                <p:nvPr/>
              </p:nvSpPr>
              <p:spPr>
                <a:xfrm>
                  <a:off x="8661000" y="1781570"/>
                  <a:ext cx="2295000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91440" tIns="45720" rIns="91440" bIns="45720" anchor="t" anchorCtr="0">
                  <a:normAutofit lnSpcReduction="10000"/>
                </a:bodyPr>
                <a:lstStyle/>
                <a:p>
                  <a:pPr algn="ctr">
                    <a:buSzPct val="25000"/>
                  </a:pPr>
                  <a:r>
                    <a:rPr lang="zh-CN" altLang="en-US" sz="2000" b="1" dirty="0">
                      <a:ea typeface="阿里巴巴普惠体" panose="00020600040101010101" pitchFamily="18" charset="-122"/>
                    </a:rPr>
                    <a:t>添加标题</a:t>
                  </a:r>
                  <a:endParaRPr lang="de-DE" altLang="zh-CN" sz="2000" b="1" dirty="0"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23" name="iṥḻíḋè"/>
                <p:cNvSpPr txBox="1"/>
                <p:nvPr/>
              </p:nvSpPr>
              <p:spPr>
                <a:xfrm>
                  <a:off x="8661000" y="2174082"/>
                  <a:ext cx="2295000" cy="110155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40" tIns="45720" rIns="91440" bIns="45720" anchor="t" anchorCtr="0">
                  <a:normAutofit/>
                </a:bodyPr>
                <a:lstStyle/>
                <a:p>
                  <a:pPr algn="ctr"/>
                  <a:r>
                    <a:rPr lang="zh-CN" altLang="en-US" sz="1200" dirty="0"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</p:txBody>
            </p:sp>
          </p:grpSp>
        </p:grpSp>
        <p:grpSp>
          <p:nvGrpSpPr>
            <p:cNvPr id="11" name="íṥḷîḍê"/>
            <p:cNvGrpSpPr/>
            <p:nvPr/>
          </p:nvGrpSpPr>
          <p:grpSpPr>
            <a:xfrm>
              <a:off x="7856450" y="3565100"/>
              <a:ext cx="2404498" cy="2447080"/>
              <a:chOff x="2715550" y="3222200"/>
              <a:chExt cx="2404498" cy="2447080"/>
            </a:xfrm>
          </p:grpSpPr>
          <p:grpSp>
            <p:nvGrpSpPr>
              <p:cNvPr id="14" name="íš1ídé"/>
              <p:cNvGrpSpPr/>
              <p:nvPr/>
            </p:nvGrpSpPr>
            <p:grpSpPr>
              <a:xfrm>
                <a:off x="3486000" y="3222200"/>
                <a:ext cx="863600" cy="863600"/>
                <a:chOff x="4462645" y="1965241"/>
                <a:chExt cx="1017604" cy="1017604"/>
              </a:xfrm>
            </p:grpSpPr>
            <p:sp>
              <p:nvSpPr>
                <p:cNvPr id="18" name="îṥlíḑé"/>
                <p:cNvSpPr/>
                <p:nvPr/>
              </p:nvSpPr>
              <p:spPr>
                <a:xfrm>
                  <a:off x="4462645" y="1965241"/>
                  <a:ext cx="1017604" cy="10176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19679" h="19679" extrusionOk="0">
                      <a:moveTo>
                        <a:pt x="16796" y="2882"/>
                      </a:moveTo>
                      <a:cubicBezTo>
                        <a:pt x="20639" y="6724"/>
                        <a:pt x="20639" y="12954"/>
                        <a:pt x="16796" y="16796"/>
                      </a:cubicBezTo>
                      <a:cubicBezTo>
                        <a:pt x="12954" y="20639"/>
                        <a:pt x="6724" y="20639"/>
                        <a:pt x="2882" y="16796"/>
                      </a:cubicBezTo>
                      <a:cubicBezTo>
                        <a:pt x="-961" y="12954"/>
                        <a:pt x="-961" y="6724"/>
                        <a:pt x="2882" y="2882"/>
                      </a:cubicBezTo>
                      <a:cubicBezTo>
                        <a:pt x="6724" y="-961"/>
                        <a:pt x="12954" y="-961"/>
                        <a:pt x="16796" y="2882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38100">
                  <a:solidFill>
                    <a:schemeClr val="bg1"/>
                  </a:solidFill>
                  <a:miter lim="400000"/>
                </a:ln>
              </p:spPr>
              <p:txBody>
                <a:bodyPr wrap="none" lIns="19050" tIns="19050" rIns="19050" bIns="19050" anchor="ctr">
                  <a:normAutofit/>
                </a:bodyPr>
                <a:lstStyle/>
                <a:p>
                  <a:pPr lvl="0" algn="ctr"/>
                  <a:endParaRPr lang="zh-CN" altLang="en-US" sz="2000" dirty="0">
                    <a:solidFill>
                      <a:schemeClr val="bg1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19" name="ïšļíďè"/>
                <p:cNvSpPr/>
                <p:nvPr/>
              </p:nvSpPr>
              <p:spPr bwMode="auto">
                <a:xfrm>
                  <a:off x="4772753" y="2282693"/>
                  <a:ext cx="397388" cy="382700"/>
                </a:xfrm>
                <a:custGeom>
                  <a:avLst/>
                  <a:gdLst>
                    <a:gd name="connsiteX0" fmla="*/ 216243 w 609050"/>
                    <a:gd name="connsiteY0" fmla="*/ 412730 h 586540"/>
                    <a:gd name="connsiteX1" fmla="*/ 216243 w 609050"/>
                    <a:gd name="connsiteY1" fmla="*/ 456594 h 586540"/>
                    <a:gd name="connsiteX2" fmla="*/ 293953 w 609050"/>
                    <a:gd name="connsiteY2" fmla="*/ 456594 h 586540"/>
                    <a:gd name="connsiteX3" fmla="*/ 293953 w 609050"/>
                    <a:gd name="connsiteY3" fmla="*/ 412730 h 586540"/>
                    <a:gd name="connsiteX4" fmla="*/ 69884 w 609050"/>
                    <a:gd name="connsiteY4" fmla="*/ 412730 h 586540"/>
                    <a:gd name="connsiteX5" fmla="*/ 69884 w 609050"/>
                    <a:gd name="connsiteY5" fmla="*/ 456594 h 586540"/>
                    <a:gd name="connsiteX6" fmla="*/ 147595 w 609050"/>
                    <a:gd name="connsiteY6" fmla="*/ 456594 h 586540"/>
                    <a:gd name="connsiteX7" fmla="*/ 147595 w 609050"/>
                    <a:gd name="connsiteY7" fmla="*/ 412730 h 586540"/>
                    <a:gd name="connsiteX8" fmla="*/ 460769 w 609050"/>
                    <a:gd name="connsiteY8" fmla="*/ 376268 h 586540"/>
                    <a:gd name="connsiteX9" fmla="*/ 460769 w 609050"/>
                    <a:gd name="connsiteY9" fmla="*/ 414786 h 586540"/>
                    <a:gd name="connsiteX10" fmla="*/ 555916 w 609050"/>
                    <a:gd name="connsiteY10" fmla="*/ 414786 h 586540"/>
                    <a:gd name="connsiteX11" fmla="*/ 555916 w 609050"/>
                    <a:gd name="connsiteY11" fmla="*/ 376268 h 586540"/>
                    <a:gd name="connsiteX12" fmla="*/ 216243 w 609050"/>
                    <a:gd name="connsiteY12" fmla="*/ 339670 h 586540"/>
                    <a:gd name="connsiteX13" fmla="*/ 216243 w 609050"/>
                    <a:gd name="connsiteY13" fmla="*/ 383533 h 586540"/>
                    <a:gd name="connsiteX14" fmla="*/ 293953 w 609050"/>
                    <a:gd name="connsiteY14" fmla="*/ 383533 h 586540"/>
                    <a:gd name="connsiteX15" fmla="*/ 293953 w 609050"/>
                    <a:gd name="connsiteY15" fmla="*/ 339670 h 586540"/>
                    <a:gd name="connsiteX16" fmla="*/ 69884 w 609050"/>
                    <a:gd name="connsiteY16" fmla="*/ 339670 h 586540"/>
                    <a:gd name="connsiteX17" fmla="*/ 69884 w 609050"/>
                    <a:gd name="connsiteY17" fmla="*/ 383533 h 586540"/>
                    <a:gd name="connsiteX18" fmla="*/ 147595 w 609050"/>
                    <a:gd name="connsiteY18" fmla="*/ 383533 h 586540"/>
                    <a:gd name="connsiteX19" fmla="*/ 147595 w 609050"/>
                    <a:gd name="connsiteY19" fmla="*/ 339670 h 586540"/>
                    <a:gd name="connsiteX20" fmla="*/ 460769 w 609050"/>
                    <a:gd name="connsiteY20" fmla="*/ 303071 h 586540"/>
                    <a:gd name="connsiteX21" fmla="*/ 460769 w 609050"/>
                    <a:gd name="connsiteY21" fmla="*/ 341726 h 586540"/>
                    <a:gd name="connsiteX22" fmla="*/ 555916 w 609050"/>
                    <a:gd name="connsiteY22" fmla="*/ 341726 h 586540"/>
                    <a:gd name="connsiteX23" fmla="*/ 555916 w 609050"/>
                    <a:gd name="connsiteY23" fmla="*/ 303071 h 586540"/>
                    <a:gd name="connsiteX24" fmla="*/ 216243 w 609050"/>
                    <a:gd name="connsiteY24" fmla="*/ 266609 h 586540"/>
                    <a:gd name="connsiteX25" fmla="*/ 216243 w 609050"/>
                    <a:gd name="connsiteY25" fmla="*/ 310473 h 586540"/>
                    <a:gd name="connsiteX26" fmla="*/ 293953 w 609050"/>
                    <a:gd name="connsiteY26" fmla="*/ 310473 h 586540"/>
                    <a:gd name="connsiteX27" fmla="*/ 293953 w 609050"/>
                    <a:gd name="connsiteY27" fmla="*/ 266609 h 586540"/>
                    <a:gd name="connsiteX28" fmla="*/ 69884 w 609050"/>
                    <a:gd name="connsiteY28" fmla="*/ 266609 h 586540"/>
                    <a:gd name="connsiteX29" fmla="*/ 69884 w 609050"/>
                    <a:gd name="connsiteY29" fmla="*/ 310473 h 586540"/>
                    <a:gd name="connsiteX30" fmla="*/ 147595 w 609050"/>
                    <a:gd name="connsiteY30" fmla="*/ 310473 h 586540"/>
                    <a:gd name="connsiteX31" fmla="*/ 147595 w 609050"/>
                    <a:gd name="connsiteY31" fmla="*/ 266609 h 586540"/>
                    <a:gd name="connsiteX32" fmla="*/ 460769 w 609050"/>
                    <a:gd name="connsiteY32" fmla="*/ 230010 h 586540"/>
                    <a:gd name="connsiteX33" fmla="*/ 460769 w 609050"/>
                    <a:gd name="connsiteY33" fmla="*/ 268528 h 586540"/>
                    <a:gd name="connsiteX34" fmla="*/ 555916 w 609050"/>
                    <a:gd name="connsiteY34" fmla="*/ 268528 h 586540"/>
                    <a:gd name="connsiteX35" fmla="*/ 555916 w 609050"/>
                    <a:gd name="connsiteY35" fmla="*/ 230010 h 586540"/>
                    <a:gd name="connsiteX36" fmla="*/ 216243 w 609050"/>
                    <a:gd name="connsiteY36" fmla="*/ 193549 h 586540"/>
                    <a:gd name="connsiteX37" fmla="*/ 216243 w 609050"/>
                    <a:gd name="connsiteY37" fmla="*/ 237412 h 586540"/>
                    <a:gd name="connsiteX38" fmla="*/ 293953 w 609050"/>
                    <a:gd name="connsiteY38" fmla="*/ 237412 h 586540"/>
                    <a:gd name="connsiteX39" fmla="*/ 293953 w 609050"/>
                    <a:gd name="connsiteY39" fmla="*/ 193549 h 586540"/>
                    <a:gd name="connsiteX40" fmla="*/ 69884 w 609050"/>
                    <a:gd name="connsiteY40" fmla="*/ 193549 h 586540"/>
                    <a:gd name="connsiteX41" fmla="*/ 69884 w 609050"/>
                    <a:gd name="connsiteY41" fmla="*/ 237412 h 586540"/>
                    <a:gd name="connsiteX42" fmla="*/ 147595 w 609050"/>
                    <a:gd name="connsiteY42" fmla="*/ 237412 h 586540"/>
                    <a:gd name="connsiteX43" fmla="*/ 147595 w 609050"/>
                    <a:gd name="connsiteY43" fmla="*/ 193549 h 586540"/>
                    <a:gd name="connsiteX44" fmla="*/ 460769 w 609050"/>
                    <a:gd name="connsiteY44" fmla="*/ 156950 h 586540"/>
                    <a:gd name="connsiteX45" fmla="*/ 460769 w 609050"/>
                    <a:gd name="connsiteY45" fmla="*/ 195468 h 586540"/>
                    <a:gd name="connsiteX46" fmla="*/ 555916 w 609050"/>
                    <a:gd name="connsiteY46" fmla="*/ 195468 h 586540"/>
                    <a:gd name="connsiteX47" fmla="*/ 555916 w 609050"/>
                    <a:gd name="connsiteY47" fmla="*/ 156950 h 586540"/>
                    <a:gd name="connsiteX48" fmla="*/ 192926 w 609050"/>
                    <a:gd name="connsiteY48" fmla="*/ 96251 h 586540"/>
                    <a:gd name="connsiteX49" fmla="*/ 361366 w 609050"/>
                    <a:gd name="connsiteY49" fmla="*/ 96251 h 586540"/>
                    <a:gd name="connsiteX50" fmla="*/ 361366 w 609050"/>
                    <a:gd name="connsiteY50" fmla="*/ 114880 h 586540"/>
                    <a:gd name="connsiteX51" fmla="*/ 192926 w 609050"/>
                    <a:gd name="connsiteY51" fmla="*/ 114880 h 586540"/>
                    <a:gd name="connsiteX52" fmla="*/ 192926 w 609050"/>
                    <a:gd name="connsiteY52" fmla="*/ 49819 h 586540"/>
                    <a:gd name="connsiteX53" fmla="*/ 361366 w 609050"/>
                    <a:gd name="connsiteY53" fmla="*/ 49819 h 586540"/>
                    <a:gd name="connsiteX54" fmla="*/ 361366 w 609050"/>
                    <a:gd name="connsiteY54" fmla="*/ 68307 h 586540"/>
                    <a:gd name="connsiteX55" fmla="*/ 192926 w 609050"/>
                    <a:gd name="connsiteY55" fmla="*/ 68307 h 586540"/>
                    <a:gd name="connsiteX56" fmla="*/ 166130 w 609050"/>
                    <a:gd name="connsiteY56" fmla="*/ 25222 h 586540"/>
                    <a:gd name="connsiteX57" fmla="*/ 166130 w 609050"/>
                    <a:gd name="connsiteY57" fmla="*/ 155716 h 586540"/>
                    <a:gd name="connsiteX58" fmla="*/ 338987 w 609050"/>
                    <a:gd name="connsiteY58" fmla="*/ 155716 h 586540"/>
                    <a:gd name="connsiteX59" fmla="*/ 338987 w 609050"/>
                    <a:gd name="connsiteY59" fmla="*/ 341040 h 586540"/>
                    <a:gd name="connsiteX60" fmla="*/ 338987 w 609050"/>
                    <a:gd name="connsiteY60" fmla="*/ 531710 h 586540"/>
                    <a:gd name="connsiteX61" fmla="*/ 366721 w 609050"/>
                    <a:gd name="connsiteY61" fmla="*/ 531710 h 586540"/>
                    <a:gd name="connsiteX62" fmla="*/ 366721 w 609050"/>
                    <a:gd name="connsiteY62" fmla="*/ 341040 h 586540"/>
                    <a:gd name="connsiteX63" fmla="*/ 366721 w 609050"/>
                    <a:gd name="connsiteY63" fmla="*/ 155305 h 586540"/>
                    <a:gd name="connsiteX64" fmla="*/ 388002 w 609050"/>
                    <a:gd name="connsiteY64" fmla="*/ 143517 h 586540"/>
                    <a:gd name="connsiteX65" fmla="*/ 388002 w 609050"/>
                    <a:gd name="connsiteY65" fmla="*/ 25222 h 586540"/>
                    <a:gd name="connsiteX66" fmla="*/ 140867 w 609050"/>
                    <a:gd name="connsiteY66" fmla="*/ 0 h 586540"/>
                    <a:gd name="connsiteX67" fmla="*/ 413402 w 609050"/>
                    <a:gd name="connsiteY67" fmla="*/ 0 h 586540"/>
                    <a:gd name="connsiteX68" fmla="*/ 413402 w 609050"/>
                    <a:gd name="connsiteY68" fmla="*/ 129398 h 586540"/>
                    <a:gd name="connsiteX69" fmla="*/ 432486 w 609050"/>
                    <a:gd name="connsiteY69" fmla="*/ 118843 h 586540"/>
                    <a:gd name="connsiteX70" fmla="*/ 584199 w 609050"/>
                    <a:gd name="connsiteY70" fmla="*/ 118843 h 586540"/>
                    <a:gd name="connsiteX71" fmla="*/ 584199 w 609050"/>
                    <a:gd name="connsiteY71" fmla="*/ 531710 h 586540"/>
                    <a:gd name="connsiteX72" fmla="*/ 609050 w 609050"/>
                    <a:gd name="connsiteY72" fmla="*/ 531710 h 586540"/>
                    <a:gd name="connsiteX73" fmla="*/ 609050 w 609050"/>
                    <a:gd name="connsiteY73" fmla="*/ 586540 h 586540"/>
                    <a:gd name="connsiteX74" fmla="*/ 0 w 609050"/>
                    <a:gd name="connsiteY74" fmla="*/ 586540 h 586540"/>
                    <a:gd name="connsiteX75" fmla="*/ 0 w 609050"/>
                    <a:gd name="connsiteY75" fmla="*/ 531710 h 586540"/>
                    <a:gd name="connsiteX76" fmla="*/ 24851 w 609050"/>
                    <a:gd name="connsiteY76" fmla="*/ 531710 h 586540"/>
                    <a:gd name="connsiteX77" fmla="*/ 24851 w 609050"/>
                    <a:gd name="connsiteY77" fmla="*/ 155716 h 586540"/>
                    <a:gd name="connsiteX78" fmla="*/ 140867 w 609050"/>
                    <a:gd name="connsiteY78" fmla="*/ 155716 h 586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609050" h="586540">
                      <a:moveTo>
                        <a:pt x="216243" y="412730"/>
                      </a:moveTo>
                      <a:lnTo>
                        <a:pt x="216243" y="456594"/>
                      </a:lnTo>
                      <a:lnTo>
                        <a:pt x="293953" y="456594"/>
                      </a:lnTo>
                      <a:lnTo>
                        <a:pt x="293953" y="412730"/>
                      </a:lnTo>
                      <a:close/>
                      <a:moveTo>
                        <a:pt x="69884" y="412730"/>
                      </a:moveTo>
                      <a:lnTo>
                        <a:pt x="69884" y="456594"/>
                      </a:lnTo>
                      <a:lnTo>
                        <a:pt x="147595" y="456594"/>
                      </a:lnTo>
                      <a:lnTo>
                        <a:pt x="147595" y="412730"/>
                      </a:lnTo>
                      <a:close/>
                      <a:moveTo>
                        <a:pt x="460769" y="376268"/>
                      </a:moveTo>
                      <a:lnTo>
                        <a:pt x="460769" y="414786"/>
                      </a:lnTo>
                      <a:lnTo>
                        <a:pt x="555916" y="414786"/>
                      </a:lnTo>
                      <a:lnTo>
                        <a:pt x="555916" y="376268"/>
                      </a:lnTo>
                      <a:close/>
                      <a:moveTo>
                        <a:pt x="216243" y="339670"/>
                      </a:moveTo>
                      <a:lnTo>
                        <a:pt x="216243" y="383533"/>
                      </a:lnTo>
                      <a:lnTo>
                        <a:pt x="293953" y="383533"/>
                      </a:lnTo>
                      <a:lnTo>
                        <a:pt x="293953" y="339670"/>
                      </a:lnTo>
                      <a:close/>
                      <a:moveTo>
                        <a:pt x="69884" y="339670"/>
                      </a:moveTo>
                      <a:lnTo>
                        <a:pt x="69884" y="383533"/>
                      </a:lnTo>
                      <a:lnTo>
                        <a:pt x="147595" y="383533"/>
                      </a:lnTo>
                      <a:lnTo>
                        <a:pt x="147595" y="339670"/>
                      </a:lnTo>
                      <a:close/>
                      <a:moveTo>
                        <a:pt x="460769" y="303071"/>
                      </a:moveTo>
                      <a:lnTo>
                        <a:pt x="460769" y="341726"/>
                      </a:lnTo>
                      <a:lnTo>
                        <a:pt x="555916" y="341726"/>
                      </a:lnTo>
                      <a:lnTo>
                        <a:pt x="555916" y="303071"/>
                      </a:lnTo>
                      <a:close/>
                      <a:moveTo>
                        <a:pt x="216243" y="266609"/>
                      </a:moveTo>
                      <a:lnTo>
                        <a:pt x="216243" y="310473"/>
                      </a:lnTo>
                      <a:lnTo>
                        <a:pt x="293953" y="310473"/>
                      </a:lnTo>
                      <a:lnTo>
                        <a:pt x="293953" y="266609"/>
                      </a:lnTo>
                      <a:close/>
                      <a:moveTo>
                        <a:pt x="69884" y="266609"/>
                      </a:moveTo>
                      <a:lnTo>
                        <a:pt x="69884" y="310473"/>
                      </a:lnTo>
                      <a:lnTo>
                        <a:pt x="147595" y="310473"/>
                      </a:lnTo>
                      <a:lnTo>
                        <a:pt x="147595" y="266609"/>
                      </a:lnTo>
                      <a:close/>
                      <a:moveTo>
                        <a:pt x="460769" y="230010"/>
                      </a:moveTo>
                      <a:lnTo>
                        <a:pt x="460769" y="268528"/>
                      </a:lnTo>
                      <a:lnTo>
                        <a:pt x="555916" y="268528"/>
                      </a:lnTo>
                      <a:lnTo>
                        <a:pt x="555916" y="230010"/>
                      </a:lnTo>
                      <a:close/>
                      <a:moveTo>
                        <a:pt x="216243" y="193549"/>
                      </a:moveTo>
                      <a:lnTo>
                        <a:pt x="216243" y="237412"/>
                      </a:lnTo>
                      <a:lnTo>
                        <a:pt x="293953" y="237412"/>
                      </a:lnTo>
                      <a:lnTo>
                        <a:pt x="293953" y="193549"/>
                      </a:lnTo>
                      <a:close/>
                      <a:moveTo>
                        <a:pt x="69884" y="193549"/>
                      </a:moveTo>
                      <a:lnTo>
                        <a:pt x="69884" y="237412"/>
                      </a:lnTo>
                      <a:lnTo>
                        <a:pt x="147595" y="237412"/>
                      </a:lnTo>
                      <a:lnTo>
                        <a:pt x="147595" y="193549"/>
                      </a:lnTo>
                      <a:close/>
                      <a:moveTo>
                        <a:pt x="460769" y="156950"/>
                      </a:moveTo>
                      <a:lnTo>
                        <a:pt x="460769" y="195468"/>
                      </a:lnTo>
                      <a:lnTo>
                        <a:pt x="555916" y="195468"/>
                      </a:lnTo>
                      <a:lnTo>
                        <a:pt x="555916" y="156950"/>
                      </a:lnTo>
                      <a:close/>
                      <a:moveTo>
                        <a:pt x="192926" y="96251"/>
                      </a:moveTo>
                      <a:lnTo>
                        <a:pt x="361366" y="96251"/>
                      </a:lnTo>
                      <a:lnTo>
                        <a:pt x="361366" y="114880"/>
                      </a:lnTo>
                      <a:lnTo>
                        <a:pt x="192926" y="114880"/>
                      </a:lnTo>
                      <a:close/>
                      <a:moveTo>
                        <a:pt x="192926" y="49819"/>
                      </a:moveTo>
                      <a:lnTo>
                        <a:pt x="361366" y="49819"/>
                      </a:lnTo>
                      <a:lnTo>
                        <a:pt x="361366" y="68307"/>
                      </a:lnTo>
                      <a:lnTo>
                        <a:pt x="192926" y="68307"/>
                      </a:lnTo>
                      <a:close/>
                      <a:moveTo>
                        <a:pt x="166130" y="25222"/>
                      </a:moveTo>
                      <a:lnTo>
                        <a:pt x="166130" y="155716"/>
                      </a:lnTo>
                      <a:lnTo>
                        <a:pt x="338987" y="155716"/>
                      </a:lnTo>
                      <a:lnTo>
                        <a:pt x="338987" y="341040"/>
                      </a:lnTo>
                      <a:lnTo>
                        <a:pt x="338987" y="531710"/>
                      </a:lnTo>
                      <a:lnTo>
                        <a:pt x="366721" y="531710"/>
                      </a:lnTo>
                      <a:lnTo>
                        <a:pt x="366721" y="341040"/>
                      </a:lnTo>
                      <a:lnTo>
                        <a:pt x="366721" y="155305"/>
                      </a:lnTo>
                      <a:lnTo>
                        <a:pt x="388002" y="143517"/>
                      </a:lnTo>
                      <a:lnTo>
                        <a:pt x="388002" y="25222"/>
                      </a:lnTo>
                      <a:close/>
                      <a:moveTo>
                        <a:pt x="140867" y="0"/>
                      </a:moveTo>
                      <a:lnTo>
                        <a:pt x="413402" y="0"/>
                      </a:lnTo>
                      <a:lnTo>
                        <a:pt x="413402" y="129398"/>
                      </a:lnTo>
                      <a:lnTo>
                        <a:pt x="432486" y="118843"/>
                      </a:lnTo>
                      <a:lnTo>
                        <a:pt x="584199" y="118843"/>
                      </a:lnTo>
                      <a:lnTo>
                        <a:pt x="584199" y="531710"/>
                      </a:lnTo>
                      <a:lnTo>
                        <a:pt x="609050" y="531710"/>
                      </a:lnTo>
                      <a:lnTo>
                        <a:pt x="609050" y="586540"/>
                      </a:lnTo>
                      <a:lnTo>
                        <a:pt x="0" y="586540"/>
                      </a:lnTo>
                      <a:lnTo>
                        <a:pt x="0" y="531710"/>
                      </a:lnTo>
                      <a:lnTo>
                        <a:pt x="24851" y="531710"/>
                      </a:lnTo>
                      <a:lnTo>
                        <a:pt x="24851" y="155716"/>
                      </a:lnTo>
                      <a:lnTo>
                        <a:pt x="140867" y="15571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 dirty="0">
                    <a:ea typeface="阿里巴巴普惠体" panose="00020600040101010101" pitchFamily="18" charset="-122"/>
                  </a:endParaRPr>
                </a:p>
              </p:txBody>
            </p:sp>
          </p:grpSp>
          <p:grpSp>
            <p:nvGrpSpPr>
              <p:cNvPr id="15" name="išḻïdè"/>
              <p:cNvGrpSpPr/>
              <p:nvPr/>
            </p:nvGrpSpPr>
            <p:grpSpPr>
              <a:xfrm>
                <a:off x="2715550" y="4236170"/>
                <a:ext cx="2404498" cy="1433110"/>
                <a:chOff x="8661000" y="1781570"/>
                <a:chExt cx="2295000" cy="1433110"/>
              </a:xfrm>
            </p:grpSpPr>
            <p:sp>
              <p:nvSpPr>
                <p:cNvPr id="16" name="ïśḻïde"/>
                <p:cNvSpPr txBox="1"/>
                <p:nvPr/>
              </p:nvSpPr>
              <p:spPr>
                <a:xfrm>
                  <a:off x="8661000" y="1781570"/>
                  <a:ext cx="2295000" cy="39251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lIns="91440" tIns="45720" rIns="91440" bIns="45720" anchor="t" anchorCtr="0">
                  <a:normAutofit lnSpcReduction="10000"/>
                </a:bodyPr>
                <a:lstStyle/>
                <a:p>
                  <a:pPr algn="ctr">
                    <a:buSzPct val="25000"/>
                  </a:pPr>
                  <a:r>
                    <a:rPr lang="zh-CN" altLang="en-US" sz="2000" b="1" dirty="0">
                      <a:ea typeface="阿里巴巴普惠体" panose="00020600040101010101" pitchFamily="18" charset="-122"/>
                    </a:rPr>
                    <a:t>添加标题</a:t>
                  </a:r>
                  <a:endParaRPr lang="de-DE" altLang="zh-CN" sz="2000" b="1" dirty="0"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17" name="îṡliḋé"/>
                <p:cNvSpPr txBox="1"/>
                <p:nvPr/>
              </p:nvSpPr>
              <p:spPr>
                <a:xfrm>
                  <a:off x="8661000" y="2174082"/>
                  <a:ext cx="2295000" cy="104059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91440" tIns="45720" rIns="91440" bIns="45720" anchor="t" anchorCtr="0">
                  <a:normAutofit/>
                </a:bodyPr>
                <a:lstStyle/>
                <a:p>
                  <a:pPr algn="ctr"/>
                  <a:r>
                    <a:rPr lang="zh-CN" altLang="en-US" sz="1200" dirty="0"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</p:txBody>
            </p:sp>
          </p:grpSp>
        </p:grpSp>
        <p:cxnSp>
          <p:nvCxnSpPr>
            <p:cNvPr id="12" name="直接连接符 11"/>
            <p:cNvCxnSpPr/>
            <p:nvPr/>
          </p:nvCxnSpPr>
          <p:spPr>
            <a:xfrm>
              <a:off x="4656000" y="4509000"/>
              <a:ext cx="0" cy="16346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>
              <a:off x="7671000" y="4509000"/>
              <a:ext cx="0" cy="16346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430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3100" y="1219284"/>
            <a:ext cx="10847388" cy="4346408"/>
            <a:chOff x="673100" y="1219284"/>
            <a:chExt cx="10847388" cy="4346408"/>
          </a:xfrm>
        </p:grpSpPr>
        <p:grpSp>
          <p:nvGrpSpPr>
            <p:cNvPr id="6" name="íṩlïdé"/>
            <p:cNvGrpSpPr/>
            <p:nvPr/>
          </p:nvGrpSpPr>
          <p:grpSpPr>
            <a:xfrm>
              <a:off x="3749674" y="1219284"/>
              <a:ext cx="4467226" cy="4346408"/>
              <a:chOff x="4022724" y="1484949"/>
              <a:chExt cx="3921126" cy="3815078"/>
            </a:xfrm>
          </p:grpSpPr>
          <p:sp>
            <p:nvSpPr>
              <p:cNvPr id="19" name="ïṣľíḍe"/>
              <p:cNvSpPr/>
              <p:nvPr/>
            </p:nvSpPr>
            <p:spPr>
              <a:xfrm rot="10800000">
                <a:off x="5484094" y="1484949"/>
                <a:ext cx="1849343" cy="1849343"/>
              </a:xfrm>
              <a:prstGeom prst="teardrop">
                <a:avLst/>
              </a:prstGeom>
              <a:solidFill>
                <a:srgbClr val="C00000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0" name="ïślíḑe"/>
              <p:cNvSpPr/>
              <p:nvPr/>
            </p:nvSpPr>
            <p:spPr>
              <a:xfrm rot="10800000" flipH="1">
                <a:off x="4022724" y="1989315"/>
                <a:ext cx="1344977" cy="1344977"/>
              </a:xfrm>
              <a:prstGeom prst="teardrop">
                <a:avLst/>
              </a:prstGeom>
              <a:solidFill>
                <a:schemeClr val="bg1">
                  <a:lumMod val="7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1" name="ísļïḍê"/>
              <p:cNvSpPr/>
              <p:nvPr/>
            </p:nvSpPr>
            <p:spPr>
              <a:xfrm rot="10800000" flipH="1" flipV="1">
                <a:off x="4633137" y="3450684"/>
                <a:ext cx="1849343" cy="1849343"/>
              </a:xfrm>
              <a:prstGeom prst="teardrop">
                <a:avLst/>
              </a:prstGeom>
              <a:solidFill>
                <a:schemeClr val="bg1">
                  <a:lumMod val="6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2" name="ïṥļîde"/>
              <p:cNvSpPr/>
              <p:nvPr/>
            </p:nvSpPr>
            <p:spPr>
              <a:xfrm rot="10800000" flipV="1">
                <a:off x="6598873" y="3450684"/>
                <a:ext cx="1344977" cy="1344977"/>
              </a:xfrm>
              <a:prstGeom prst="teardrop">
                <a:avLst/>
              </a:prstGeom>
              <a:solidFill>
                <a:schemeClr val="bg1">
                  <a:lumMod val="7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3" name="íŝ1íḓè"/>
              <p:cNvSpPr/>
              <p:nvPr/>
            </p:nvSpPr>
            <p:spPr bwMode="auto">
              <a:xfrm>
                <a:off x="4324236" y="2347298"/>
                <a:ext cx="826832" cy="679588"/>
              </a:xfrm>
              <a:custGeom>
                <a:avLst/>
                <a:gdLst>
                  <a:gd name="T0" fmla="*/ 285 w 293"/>
                  <a:gd name="T1" fmla="*/ 32 h 238"/>
                  <a:gd name="T2" fmla="*/ 259 w 293"/>
                  <a:gd name="T3" fmla="*/ 38 h 238"/>
                  <a:gd name="T4" fmla="*/ 275 w 293"/>
                  <a:gd name="T5" fmla="*/ 24 h 238"/>
                  <a:gd name="T6" fmla="*/ 285 w 293"/>
                  <a:gd name="T7" fmla="*/ 4 h 238"/>
                  <a:gd name="T8" fmla="*/ 257 w 293"/>
                  <a:gd name="T9" fmla="*/ 16 h 238"/>
                  <a:gd name="T10" fmla="*/ 237 w 293"/>
                  <a:gd name="T11" fmla="*/ 11 h 238"/>
                  <a:gd name="T12" fmla="*/ 216 w 293"/>
                  <a:gd name="T13" fmla="*/ 1 h 238"/>
                  <a:gd name="T14" fmla="*/ 203 w 293"/>
                  <a:gd name="T15" fmla="*/ 0 h 238"/>
                  <a:gd name="T16" fmla="*/ 179 w 293"/>
                  <a:gd name="T17" fmla="*/ 5 h 238"/>
                  <a:gd name="T18" fmla="*/ 154 w 293"/>
                  <a:gd name="T19" fmla="*/ 27 h 238"/>
                  <a:gd name="T20" fmla="*/ 143 w 293"/>
                  <a:gd name="T21" fmla="*/ 54 h 238"/>
                  <a:gd name="T22" fmla="*/ 143 w 293"/>
                  <a:gd name="T23" fmla="*/ 67 h 238"/>
                  <a:gd name="T24" fmla="*/ 126 w 293"/>
                  <a:gd name="T25" fmla="*/ 72 h 238"/>
                  <a:gd name="T26" fmla="*/ 75 w 293"/>
                  <a:gd name="T27" fmla="*/ 55 h 238"/>
                  <a:gd name="T28" fmla="*/ 33 w 293"/>
                  <a:gd name="T29" fmla="*/ 24 h 238"/>
                  <a:gd name="T30" fmla="*/ 17 w 293"/>
                  <a:gd name="T31" fmla="*/ 17 h 238"/>
                  <a:gd name="T32" fmla="*/ 12 w 293"/>
                  <a:gd name="T33" fmla="*/ 41 h 238"/>
                  <a:gd name="T34" fmla="*/ 14 w 293"/>
                  <a:gd name="T35" fmla="*/ 57 h 238"/>
                  <a:gd name="T36" fmla="*/ 23 w 293"/>
                  <a:gd name="T37" fmla="*/ 76 h 238"/>
                  <a:gd name="T38" fmla="*/ 39 w 293"/>
                  <a:gd name="T39" fmla="*/ 91 h 238"/>
                  <a:gd name="T40" fmla="*/ 25 w 293"/>
                  <a:gd name="T41" fmla="*/ 89 h 238"/>
                  <a:gd name="T42" fmla="*/ 12 w 293"/>
                  <a:gd name="T43" fmla="*/ 84 h 238"/>
                  <a:gd name="T44" fmla="*/ 13 w 293"/>
                  <a:gd name="T45" fmla="*/ 95 h 238"/>
                  <a:gd name="T46" fmla="*/ 25 w 293"/>
                  <a:gd name="T47" fmla="*/ 123 h 238"/>
                  <a:gd name="T48" fmla="*/ 50 w 293"/>
                  <a:gd name="T49" fmla="*/ 140 h 238"/>
                  <a:gd name="T50" fmla="*/ 52 w 293"/>
                  <a:gd name="T51" fmla="*/ 145 h 238"/>
                  <a:gd name="T52" fmla="*/ 33 w 293"/>
                  <a:gd name="T53" fmla="*/ 145 h 238"/>
                  <a:gd name="T54" fmla="*/ 41 w 293"/>
                  <a:gd name="T55" fmla="*/ 161 h 238"/>
                  <a:gd name="T56" fmla="*/ 62 w 293"/>
                  <a:gd name="T57" fmla="*/ 179 h 238"/>
                  <a:gd name="T58" fmla="*/ 89 w 293"/>
                  <a:gd name="T59" fmla="*/ 186 h 238"/>
                  <a:gd name="T60" fmla="*/ 73 w 293"/>
                  <a:gd name="T61" fmla="*/ 197 h 238"/>
                  <a:gd name="T62" fmla="*/ 45 w 293"/>
                  <a:gd name="T63" fmla="*/ 208 h 238"/>
                  <a:gd name="T64" fmla="*/ 14 w 293"/>
                  <a:gd name="T65" fmla="*/ 212 h 238"/>
                  <a:gd name="T66" fmla="*/ 0 w 293"/>
                  <a:gd name="T67" fmla="*/ 211 h 238"/>
                  <a:gd name="T68" fmla="*/ 32 w 293"/>
                  <a:gd name="T69" fmla="*/ 227 h 238"/>
                  <a:gd name="T70" fmla="*/ 68 w 293"/>
                  <a:gd name="T71" fmla="*/ 237 h 238"/>
                  <a:gd name="T72" fmla="*/ 93 w 293"/>
                  <a:gd name="T73" fmla="*/ 238 h 238"/>
                  <a:gd name="T74" fmla="*/ 149 w 293"/>
                  <a:gd name="T75" fmla="*/ 229 h 238"/>
                  <a:gd name="T76" fmla="*/ 195 w 293"/>
                  <a:gd name="T77" fmla="*/ 205 h 238"/>
                  <a:gd name="T78" fmla="*/ 229 w 293"/>
                  <a:gd name="T79" fmla="*/ 169 h 238"/>
                  <a:gd name="T80" fmla="*/ 252 w 293"/>
                  <a:gd name="T81" fmla="*/ 127 h 238"/>
                  <a:gd name="T82" fmla="*/ 262 w 293"/>
                  <a:gd name="T83" fmla="*/ 82 h 238"/>
                  <a:gd name="T84" fmla="*/ 263 w 293"/>
                  <a:gd name="T85" fmla="*/ 59 h 238"/>
                  <a:gd name="T86" fmla="*/ 280 w 293"/>
                  <a:gd name="T87" fmla="*/ 45 h 238"/>
                  <a:gd name="T88" fmla="*/ 293 w 293"/>
                  <a:gd name="T89" fmla="*/ 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93" h="238">
                    <a:moveTo>
                      <a:pt x="293" y="28"/>
                    </a:moveTo>
                    <a:lnTo>
                      <a:pt x="293" y="28"/>
                    </a:lnTo>
                    <a:lnTo>
                      <a:pt x="285" y="32"/>
                    </a:lnTo>
                    <a:lnTo>
                      <a:pt x="277" y="34"/>
                    </a:lnTo>
                    <a:lnTo>
                      <a:pt x="267" y="36"/>
                    </a:lnTo>
                    <a:lnTo>
                      <a:pt x="259" y="38"/>
                    </a:lnTo>
                    <a:lnTo>
                      <a:pt x="259" y="38"/>
                    </a:lnTo>
                    <a:lnTo>
                      <a:pt x="267" y="31"/>
                    </a:lnTo>
                    <a:lnTo>
                      <a:pt x="275" y="24"/>
                    </a:lnTo>
                    <a:lnTo>
                      <a:pt x="281" y="14"/>
                    </a:lnTo>
                    <a:lnTo>
                      <a:pt x="285" y="4"/>
                    </a:lnTo>
                    <a:lnTo>
                      <a:pt x="285" y="4"/>
                    </a:lnTo>
                    <a:lnTo>
                      <a:pt x="277" y="9"/>
                    </a:lnTo>
                    <a:lnTo>
                      <a:pt x="266" y="13"/>
                    </a:lnTo>
                    <a:lnTo>
                      <a:pt x="257" y="16"/>
                    </a:lnTo>
                    <a:lnTo>
                      <a:pt x="247" y="18"/>
                    </a:lnTo>
                    <a:lnTo>
                      <a:pt x="247" y="18"/>
                    </a:lnTo>
                    <a:lnTo>
                      <a:pt x="237" y="11"/>
                    </a:lnTo>
                    <a:lnTo>
                      <a:pt x="227" y="5"/>
                    </a:lnTo>
                    <a:lnTo>
                      <a:pt x="222" y="3"/>
                    </a:lnTo>
                    <a:lnTo>
                      <a:pt x="216" y="1"/>
                    </a:lnTo>
                    <a:lnTo>
                      <a:pt x="209" y="0"/>
                    </a:lnTo>
                    <a:lnTo>
                      <a:pt x="203" y="0"/>
                    </a:lnTo>
                    <a:lnTo>
                      <a:pt x="203" y="0"/>
                    </a:lnTo>
                    <a:lnTo>
                      <a:pt x="197" y="0"/>
                    </a:lnTo>
                    <a:lnTo>
                      <a:pt x="191" y="1"/>
                    </a:lnTo>
                    <a:lnTo>
                      <a:pt x="179" y="5"/>
                    </a:lnTo>
                    <a:lnTo>
                      <a:pt x="169" y="10"/>
                    </a:lnTo>
                    <a:lnTo>
                      <a:pt x="161" y="17"/>
                    </a:lnTo>
                    <a:lnTo>
                      <a:pt x="154" y="27"/>
                    </a:lnTo>
                    <a:lnTo>
                      <a:pt x="147" y="37"/>
                    </a:lnTo>
                    <a:lnTo>
                      <a:pt x="144" y="48"/>
                    </a:lnTo>
                    <a:lnTo>
                      <a:pt x="143" y="54"/>
                    </a:lnTo>
                    <a:lnTo>
                      <a:pt x="143" y="60"/>
                    </a:lnTo>
                    <a:lnTo>
                      <a:pt x="143" y="60"/>
                    </a:lnTo>
                    <a:lnTo>
                      <a:pt x="143" y="67"/>
                    </a:lnTo>
                    <a:lnTo>
                      <a:pt x="144" y="74"/>
                    </a:lnTo>
                    <a:lnTo>
                      <a:pt x="144" y="74"/>
                    </a:lnTo>
                    <a:lnTo>
                      <a:pt x="126" y="72"/>
                    </a:lnTo>
                    <a:lnTo>
                      <a:pt x="108" y="68"/>
                    </a:lnTo>
                    <a:lnTo>
                      <a:pt x="92" y="63"/>
                    </a:lnTo>
                    <a:lnTo>
                      <a:pt x="75" y="55"/>
                    </a:lnTo>
                    <a:lnTo>
                      <a:pt x="59" y="46"/>
                    </a:lnTo>
                    <a:lnTo>
                      <a:pt x="45" y="36"/>
                    </a:lnTo>
                    <a:lnTo>
                      <a:pt x="33" y="24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7" y="17"/>
                    </a:lnTo>
                    <a:lnTo>
                      <a:pt x="15" y="26"/>
                    </a:lnTo>
                    <a:lnTo>
                      <a:pt x="13" y="33"/>
                    </a:lnTo>
                    <a:lnTo>
                      <a:pt x="12" y="41"/>
                    </a:lnTo>
                    <a:lnTo>
                      <a:pt x="12" y="41"/>
                    </a:lnTo>
                    <a:lnTo>
                      <a:pt x="13" y="48"/>
                    </a:lnTo>
                    <a:lnTo>
                      <a:pt x="14" y="57"/>
                    </a:lnTo>
                    <a:lnTo>
                      <a:pt x="17" y="63"/>
                    </a:lnTo>
                    <a:lnTo>
                      <a:pt x="20" y="70"/>
                    </a:lnTo>
                    <a:lnTo>
                      <a:pt x="23" y="76"/>
                    </a:lnTo>
                    <a:lnTo>
                      <a:pt x="28" y="81"/>
                    </a:lnTo>
                    <a:lnTo>
                      <a:pt x="34" y="87"/>
                    </a:lnTo>
                    <a:lnTo>
                      <a:pt x="39" y="91"/>
                    </a:lnTo>
                    <a:lnTo>
                      <a:pt x="39" y="91"/>
                    </a:lnTo>
                    <a:lnTo>
                      <a:pt x="32" y="91"/>
                    </a:lnTo>
                    <a:lnTo>
                      <a:pt x="25" y="89"/>
                    </a:lnTo>
                    <a:lnTo>
                      <a:pt x="18" y="87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5"/>
                    </a:lnTo>
                    <a:lnTo>
                      <a:pt x="12" y="85"/>
                    </a:lnTo>
                    <a:lnTo>
                      <a:pt x="13" y="95"/>
                    </a:lnTo>
                    <a:lnTo>
                      <a:pt x="16" y="105"/>
                    </a:lnTo>
                    <a:lnTo>
                      <a:pt x="20" y="115"/>
                    </a:lnTo>
                    <a:lnTo>
                      <a:pt x="25" y="123"/>
                    </a:lnTo>
                    <a:lnTo>
                      <a:pt x="33" y="130"/>
                    </a:lnTo>
                    <a:lnTo>
                      <a:pt x="41" y="136"/>
                    </a:lnTo>
                    <a:lnTo>
                      <a:pt x="50" y="140"/>
                    </a:lnTo>
                    <a:lnTo>
                      <a:pt x="60" y="143"/>
                    </a:lnTo>
                    <a:lnTo>
                      <a:pt x="60" y="143"/>
                    </a:lnTo>
                    <a:lnTo>
                      <a:pt x="52" y="145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33" y="145"/>
                    </a:lnTo>
                    <a:lnTo>
                      <a:pt x="33" y="145"/>
                    </a:lnTo>
                    <a:lnTo>
                      <a:pt x="37" y="153"/>
                    </a:lnTo>
                    <a:lnTo>
                      <a:pt x="41" y="161"/>
                    </a:lnTo>
                    <a:lnTo>
                      <a:pt x="47" y="168"/>
                    </a:lnTo>
                    <a:lnTo>
                      <a:pt x="54" y="175"/>
                    </a:lnTo>
                    <a:lnTo>
                      <a:pt x="62" y="179"/>
                    </a:lnTo>
                    <a:lnTo>
                      <a:pt x="71" y="183"/>
                    </a:lnTo>
                    <a:lnTo>
                      <a:pt x="79" y="185"/>
                    </a:lnTo>
                    <a:lnTo>
                      <a:pt x="89" y="186"/>
                    </a:lnTo>
                    <a:lnTo>
                      <a:pt x="89" y="186"/>
                    </a:lnTo>
                    <a:lnTo>
                      <a:pt x="81" y="192"/>
                    </a:lnTo>
                    <a:lnTo>
                      <a:pt x="73" y="197"/>
                    </a:lnTo>
                    <a:lnTo>
                      <a:pt x="64" y="201"/>
                    </a:lnTo>
                    <a:lnTo>
                      <a:pt x="54" y="206"/>
                    </a:lnTo>
                    <a:lnTo>
                      <a:pt x="45" y="208"/>
                    </a:lnTo>
                    <a:lnTo>
                      <a:pt x="35" y="210"/>
                    </a:lnTo>
                    <a:lnTo>
                      <a:pt x="25" y="212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0" y="211"/>
                    </a:lnTo>
                    <a:lnTo>
                      <a:pt x="0" y="211"/>
                    </a:lnTo>
                    <a:lnTo>
                      <a:pt x="10" y="217"/>
                    </a:lnTo>
                    <a:lnTo>
                      <a:pt x="21" y="222"/>
                    </a:lnTo>
                    <a:lnTo>
                      <a:pt x="32" y="227"/>
                    </a:lnTo>
                    <a:lnTo>
                      <a:pt x="44" y="231"/>
                    </a:lnTo>
                    <a:lnTo>
                      <a:pt x="55" y="235"/>
                    </a:lnTo>
                    <a:lnTo>
                      <a:pt x="68" y="237"/>
                    </a:lnTo>
                    <a:lnTo>
                      <a:pt x="80" y="238"/>
                    </a:lnTo>
                    <a:lnTo>
                      <a:pt x="93" y="238"/>
                    </a:lnTo>
                    <a:lnTo>
                      <a:pt x="93" y="238"/>
                    </a:lnTo>
                    <a:lnTo>
                      <a:pt x="112" y="237"/>
                    </a:lnTo>
                    <a:lnTo>
                      <a:pt x="132" y="233"/>
                    </a:lnTo>
                    <a:lnTo>
                      <a:pt x="149" y="229"/>
                    </a:lnTo>
                    <a:lnTo>
                      <a:pt x="166" y="222"/>
                    </a:lnTo>
                    <a:lnTo>
                      <a:pt x="180" y="215"/>
                    </a:lnTo>
                    <a:lnTo>
                      <a:pt x="195" y="205"/>
                    </a:lnTo>
                    <a:lnTo>
                      <a:pt x="207" y="194"/>
                    </a:lnTo>
                    <a:lnTo>
                      <a:pt x="220" y="183"/>
                    </a:lnTo>
                    <a:lnTo>
                      <a:pt x="229" y="169"/>
                    </a:lnTo>
                    <a:lnTo>
                      <a:pt x="238" y="156"/>
                    </a:lnTo>
                    <a:lnTo>
                      <a:pt x="246" y="141"/>
                    </a:lnTo>
                    <a:lnTo>
                      <a:pt x="252" y="127"/>
                    </a:lnTo>
                    <a:lnTo>
                      <a:pt x="257" y="112"/>
                    </a:lnTo>
                    <a:lnTo>
                      <a:pt x="260" y="97"/>
                    </a:lnTo>
                    <a:lnTo>
                      <a:pt x="262" y="82"/>
                    </a:lnTo>
                    <a:lnTo>
                      <a:pt x="263" y="67"/>
                    </a:lnTo>
                    <a:lnTo>
                      <a:pt x="263" y="67"/>
                    </a:lnTo>
                    <a:lnTo>
                      <a:pt x="263" y="59"/>
                    </a:lnTo>
                    <a:lnTo>
                      <a:pt x="263" y="59"/>
                    </a:lnTo>
                    <a:lnTo>
                      <a:pt x="271" y="52"/>
                    </a:lnTo>
                    <a:lnTo>
                      <a:pt x="280" y="45"/>
                    </a:lnTo>
                    <a:lnTo>
                      <a:pt x="287" y="37"/>
                    </a:lnTo>
                    <a:lnTo>
                      <a:pt x="293" y="28"/>
                    </a:lnTo>
                    <a:lnTo>
                      <a:pt x="293" y="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4" name="isḷíḓè"/>
              <p:cNvSpPr/>
              <p:nvPr/>
            </p:nvSpPr>
            <p:spPr bwMode="auto">
              <a:xfrm>
                <a:off x="6930750" y="3767466"/>
                <a:ext cx="681222" cy="656448"/>
              </a:xfrm>
              <a:custGeom>
                <a:avLst/>
                <a:gdLst>
                  <a:gd name="T0" fmla="*/ 0 w 208"/>
                  <a:gd name="T1" fmla="*/ 68 h 201"/>
                  <a:gd name="T2" fmla="*/ 8 w 208"/>
                  <a:gd name="T3" fmla="*/ 78 h 201"/>
                  <a:gd name="T4" fmla="*/ 31 w 208"/>
                  <a:gd name="T5" fmla="*/ 72 h 201"/>
                  <a:gd name="T6" fmla="*/ 64 w 208"/>
                  <a:gd name="T7" fmla="*/ 172 h 201"/>
                  <a:gd name="T8" fmla="*/ 106 w 208"/>
                  <a:gd name="T9" fmla="*/ 189 h 201"/>
                  <a:gd name="T10" fmla="*/ 197 w 208"/>
                  <a:gd name="T11" fmla="*/ 62 h 201"/>
                  <a:gd name="T12" fmla="*/ 114 w 208"/>
                  <a:gd name="T13" fmla="*/ 67 h 201"/>
                  <a:gd name="T14" fmla="*/ 137 w 208"/>
                  <a:gd name="T15" fmla="*/ 94 h 201"/>
                  <a:gd name="T16" fmla="*/ 109 w 208"/>
                  <a:gd name="T17" fmla="*/ 130 h 201"/>
                  <a:gd name="T18" fmla="*/ 93 w 208"/>
                  <a:gd name="T19" fmla="*/ 90 h 201"/>
                  <a:gd name="T20" fmla="*/ 60 w 208"/>
                  <a:gd name="T21" fmla="*/ 22 h 201"/>
                  <a:gd name="T22" fmla="*/ 0 w 208"/>
                  <a:gd name="T23" fmla="*/ 6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8" h="201">
                    <a:moveTo>
                      <a:pt x="0" y="68"/>
                    </a:move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25" y="65"/>
                      <a:pt x="31" y="72"/>
                    </a:cubicBezTo>
                    <a:cubicBezTo>
                      <a:pt x="36" y="78"/>
                      <a:pt x="57" y="157"/>
                      <a:pt x="64" y="172"/>
                    </a:cubicBezTo>
                    <a:cubicBezTo>
                      <a:pt x="70" y="184"/>
                      <a:pt x="87" y="201"/>
                      <a:pt x="106" y="189"/>
                    </a:cubicBezTo>
                    <a:cubicBezTo>
                      <a:pt x="125" y="177"/>
                      <a:pt x="186" y="124"/>
                      <a:pt x="197" y="62"/>
                    </a:cubicBezTo>
                    <a:cubicBezTo>
                      <a:pt x="208" y="0"/>
                      <a:pt x="123" y="13"/>
                      <a:pt x="114" y="67"/>
                    </a:cubicBezTo>
                    <a:cubicBezTo>
                      <a:pt x="137" y="54"/>
                      <a:pt x="149" y="73"/>
                      <a:pt x="137" y="94"/>
                    </a:cubicBezTo>
                    <a:cubicBezTo>
                      <a:pt x="126" y="116"/>
                      <a:pt x="115" y="130"/>
                      <a:pt x="109" y="130"/>
                    </a:cubicBezTo>
                    <a:cubicBezTo>
                      <a:pt x="104" y="130"/>
                      <a:pt x="100" y="116"/>
                      <a:pt x="93" y="90"/>
                    </a:cubicBezTo>
                    <a:cubicBezTo>
                      <a:pt x="87" y="64"/>
                      <a:pt x="87" y="17"/>
                      <a:pt x="60" y="22"/>
                    </a:cubicBezTo>
                    <a:cubicBezTo>
                      <a:pt x="34" y="27"/>
                      <a:pt x="0" y="68"/>
                      <a:pt x="0" y="6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5" name="íṣlïḋê"/>
              <p:cNvSpPr/>
              <p:nvPr/>
            </p:nvSpPr>
            <p:spPr bwMode="auto">
              <a:xfrm>
                <a:off x="6016856" y="2035353"/>
                <a:ext cx="783818" cy="782996"/>
              </a:xfrm>
              <a:custGeom>
                <a:avLst/>
                <a:gdLst>
                  <a:gd name="T0" fmla="*/ 374 w 400"/>
                  <a:gd name="T1" fmla="*/ 100 h 400"/>
                  <a:gd name="T2" fmla="*/ 301 w 400"/>
                  <a:gd name="T3" fmla="*/ 27 h 400"/>
                  <a:gd name="T4" fmla="*/ 200 w 400"/>
                  <a:gd name="T5" fmla="*/ 0 h 400"/>
                  <a:gd name="T6" fmla="*/ 100 w 400"/>
                  <a:gd name="T7" fmla="*/ 27 h 400"/>
                  <a:gd name="T8" fmla="*/ 27 w 400"/>
                  <a:gd name="T9" fmla="*/ 100 h 400"/>
                  <a:gd name="T10" fmla="*/ 0 w 400"/>
                  <a:gd name="T11" fmla="*/ 200 h 400"/>
                  <a:gd name="T12" fmla="*/ 27 w 400"/>
                  <a:gd name="T13" fmla="*/ 301 h 400"/>
                  <a:gd name="T14" fmla="*/ 100 w 400"/>
                  <a:gd name="T15" fmla="*/ 374 h 400"/>
                  <a:gd name="T16" fmla="*/ 200 w 400"/>
                  <a:gd name="T17" fmla="*/ 400 h 400"/>
                  <a:gd name="T18" fmla="*/ 301 w 400"/>
                  <a:gd name="T19" fmla="*/ 374 h 400"/>
                  <a:gd name="T20" fmla="*/ 374 w 400"/>
                  <a:gd name="T21" fmla="*/ 301 h 400"/>
                  <a:gd name="T22" fmla="*/ 400 w 400"/>
                  <a:gd name="T23" fmla="*/ 200 h 400"/>
                  <a:gd name="T24" fmla="*/ 374 w 400"/>
                  <a:gd name="T25" fmla="*/ 100 h 400"/>
                  <a:gd name="T26" fmla="*/ 330 w 400"/>
                  <a:gd name="T27" fmla="*/ 170 h 400"/>
                  <a:gd name="T28" fmla="*/ 188 w 400"/>
                  <a:gd name="T29" fmla="*/ 311 h 400"/>
                  <a:gd name="T30" fmla="*/ 176 w 400"/>
                  <a:gd name="T31" fmla="*/ 316 h 400"/>
                  <a:gd name="T32" fmla="*/ 165 w 400"/>
                  <a:gd name="T33" fmla="*/ 311 h 400"/>
                  <a:gd name="T34" fmla="*/ 70 w 400"/>
                  <a:gd name="T35" fmla="*/ 217 h 400"/>
                  <a:gd name="T36" fmla="*/ 66 w 400"/>
                  <a:gd name="T37" fmla="*/ 205 h 400"/>
                  <a:gd name="T38" fmla="*/ 70 w 400"/>
                  <a:gd name="T39" fmla="*/ 193 h 400"/>
                  <a:gd name="T40" fmla="*/ 94 w 400"/>
                  <a:gd name="T41" fmla="*/ 170 h 400"/>
                  <a:gd name="T42" fmla="*/ 106 w 400"/>
                  <a:gd name="T43" fmla="*/ 165 h 400"/>
                  <a:gd name="T44" fmla="*/ 118 w 400"/>
                  <a:gd name="T45" fmla="*/ 170 h 400"/>
                  <a:gd name="T46" fmla="*/ 176 w 400"/>
                  <a:gd name="T47" fmla="*/ 229 h 400"/>
                  <a:gd name="T48" fmla="*/ 283 w 400"/>
                  <a:gd name="T49" fmla="*/ 123 h 400"/>
                  <a:gd name="T50" fmla="*/ 295 w 400"/>
                  <a:gd name="T51" fmla="*/ 118 h 400"/>
                  <a:gd name="T52" fmla="*/ 306 w 400"/>
                  <a:gd name="T53" fmla="*/ 123 h 400"/>
                  <a:gd name="T54" fmla="*/ 330 w 400"/>
                  <a:gd name="T55" fmla="*/ 146 h 400"/>
                  <a:gd name="T56" fmla="*/ 335 w 400"/>
                  <a:gd name="T57" fmla="*/ 158 h 400"/>
                  <a:gd name="T58" fmla="*/ 330 w 400"/>
                  <a:gd name="T59" fmla="*/ 170 h 400"/>
                  <a:gd name="T60" fmla="*/ 330 w 400"/>
                  <a:gd name="T61" fmla="*/ 170 h 400"/>
                  <a:gd name="T62" fmla="*/ 330 w 400"/>
                  <a:gd name="T63" fmla="*/ 17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0" h="400">
                    <a:moveTo>
                      <a:pt x="374" y="100"/>
                    </a:moveTo>
                    <a:cubicBezTo>
                      <a:pt x="356" y="69"/>
                      <a:pt x="331" y="45"/>
                      <a:pt x="301" y="27"/>
                    </a:cubicBezTo>
                    <a:cubicBezTo>
                      <a:pt x="270" y="9"/>
                      <a:pt x="237" y="0"/>
                      <a:pt x="200" y="0"/>
                    </a:cubicBezTo>
                    <a:cubicBezTo>
                      <a:pt x="164" y="0"/>
                      <a:pt x="130" y="9"/>
                      <a:pt x="100" y="27"/>
                    </a:cubicBezTo>
                    <a:cubicBezTo>
                      <a:pt x="69" y="45"/>
                      <a:pt x="45" y="69"/>
                      <a:pt x="27" y="100"/>
                    </a:cubicBezTo>
                    <a:cubicBezTo>
                      <a:pt x="9" y="130"/>
                      <a:pt x="0" y="164"/>
                      <a:pt x="0" y="200"/>
                    </a:cubicBezTo>
                    <a:cubicBezTo>
                      <a:pt x="0" y="237"/>
                      <a:pt x="9" y="270"/>
                      <a:pt x="27" y="301"/>
                    </a:cubicBezTo>
                    <a:cubicBezTo>
                      <a:pt x="45" y="331"/>
                      <a:pt x="69" y="356"/>
                      <a:pt x="100" y="374"/>
                    </a:cubicBezTo>
                    <a:cubicBezTo>
                      <a:pt x="130" y="391"/>
                      <a:pt x="164" y="400"/>
                      <a:pt x="200" y="400"/>
                    </a:cubicBezTo>
                    <a:cubicBezTo>
                      <a:pt x="237" y="400"/>
                      <a:pt x="270" y="391"/>
                      <a:pt x="301" y="374"/>
                    </a:cubicBezTo>
                    <a:cubicBezTo>
                      <a:pt x="331" y="356"/>
                      <a:pt x="356" y="331"/>
                      <a:pt x="374" y="301"/>
                    </a:cubicBezTo>
                    <a:cubicBezTo>
                      <a:pt x="392" y="270"/>
                      <a:pt x="400" y="237"/>
                      <a:pt x="400" y="200"/>
                    </a:cubicBezTo>
                    <a:cubicBezTo>
                      <a:pt x="400" y="164"/>
                      <a:pt x="392" y="130"/>
                      <a:pt x="374" y="100"/>
                    </a:cubicBezTo>
                    <a:close/>
                    <a:moveTo>
                      <a:pt x="330" y="170"/>
                    </a:moveTo>
                    <a:cubicBezTo>
                      <a:pt x="188" y="311"/>
                      <a:pt x="188" y="311"/>
                      <a:pt x="188" y="311"/>
                    </a:cubicBezTo>
                    <a:cubicBezTo>
                      <a:pt x="185" y="315"/>
                      <a:pt x="181" y="316"/>
                      <a:pt x="176" y="316"/>
                    </a:cubicBezTo>
                    <a:cubicBezTo>
                      <a:pt x="172" y="316"/>
                      <a:pt x="168" y="315"/>
                      <a:pt x="165" y="311"/>
                    </a:cubicBezTo>
                    <a:cubicBezTo>
                      <a:pt x="70" y="217"/>
                      <a:pt x="70" y="217"/>
                      <a:pt x="70" y="217"/>
                    </a:cubicBezTo>
                    <a:cubicBezTo>
                      <a:pt x="67" y="214"/>
                      <a:pt x="66" y="210"/>
                      <a:pt x="66" y="205"/>
                    </a:cubicBezTo>
                    <a:cubicBezTo>
                      <a:pt x="66" y="200"/>
                      <a:pt x="67" y="196"/>
                      <a:pt x="70" y="193"/>
                    </a:cubicBezTo>
                    <a:cubicBezTo>
                      <a:pt x="94" y="170"/>
                      <a:pt x="94" y="170"/>
                      <a:pt x="94" y="170"/>
                    </a:cubicBezTo>
                    <a:cubicBezTo>
                      <a:pt x="97" y="166"/>
                      <a:pt x="101" y="165"/>
                      <a:pt x="106" y="165"/>
                    </a:cubicBezTo>
                    <a:cubicBezTo>
                      <a:pt x="110" y="165"/>
                      <a:pt x="114" y="166"/>
                      <a:pt x="118" y="170"/>
                    </a:cubicBezTo>
                    <a:cubicBezTo>
                      <a:pt x="176" y="229"/>
                      <a:pt x="176" y="229"/>
                      <a:pt x="176" y="229"/>
                    </a:cubicBezTo>
                    <a:cubicBezTo>
                      <a:pt x="283" y="123"/>
                      <a:pt x="283" y="123"/>
                      <a:pt x="283" y="123"/>
                    </a:cubicBezTo>
                    <a:cubicBezTo>
                      <a:pt x="286" y="119"/>
                      <a:pt x="290" y="118"/>
                      <a:pt x="295" y="118"/>
                    </a:cubicBezTo>
                    <a:cubicBezTo>
                      <a:pt x="299" y="118"/>
                      <a:pt x="303" y="119"/>
                      <a:pt x="306" y="123"/>
                    </a:cubicBezTo>
                    <a:cubicBezTo>
                      <a:pt x="330" y="146"/>
                      <a:pt x="330" y="146"/>
                      <a:pt x="330" y="146"/>
                    </a:cubicBezTo>
                    <a:cubicBezTo>
                      <a:pt x="333" y="149"/>
                      <a:pt x="335" y="153"/>
                      <a:pt x="335" y="158"/>
                    </a:cubicBezTo>
                    <a:cubicBezTo>
                      <a:pt x="335" y="163"/>
                      <a:pt x="333" y="167"/>
                      <a:pt x="330" y="170"/>
                    </a:cubicBezTo>
                    <a:close/>
                    <a:moveTo>
                      <a:pt x="330" y="170"/>
                    </a:moveTo>
                    <a:cubicBezTo>
                      <a:pt x="330" y="170"/>
                      <a:pt x="330" y="170"/>
                      <a:pt x="330" y="17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6" name="íṩľíḑe"/>
              <p:cNvSpPr/>
              <p:nvPr/>
            </p:nvSpPr>
            <p:spPr bwMode="auto">
              <a:xfrm>
                <a:off x="5249014" y="4076024"/>
                <a:ext cx="617588" cy="616444"/>
              </a:xfrm>
              <a:custGeom>
                <a:avLst/>
                <a:gdLst>
                  <a:gd name="T0" fmla="*/ 164 w 204"/>
                  <a:gd name="T1" fmla="*/ 0 h 204"/>
                  <a:gd name="T2" fmla="*/ 39 w 204"/>
                  <a:gd name="T3" fmla="*/ 0 h 204"/>
                  <a:gd name="T4" fmla="*/ 0 w 204"/>
                  <a:gd name="T5" fmla="*/ 39 h 204"/>
                  <a:gd name="T6" fmla="*/ 0 w 204"/>
                  <a:gd name="T7" fmla="*/ 81 h 204"/>
                  <a:gd name="T8" fmla="*/ 0 w 204"/>
                  <a:gd name="T9" fmla="*/ 164 h 204"/>
                  <a:gd name="T10" fmla="*/ 39 w 204"/>
                  <a:gd name="T11" fmla="*/ 204 h 204"/>
                  <a:gd name="T12" fmla="*/ 164 w 204"/>
                  <a:gd name="T13" fmla="*/ 204 h 204"/>
                  <a:gd name="T14" fmla="*/ 204 w 204"/>
                  <a:gd name="T15" fmla="*/ 164 h 204"/>
                  <a:gd name="T16" fmla="*/ 204 w 204"/>
                  <a:gd name="T17" fmla="*/ 81 h 204"/>
                  <a:gd name="T18" fmla="*/ 204 w 204"/>
                  <a:gd name="T19" fmla="*/ 39 h 204"/>
                  <a:gd name="T20" fmla="*/ 164 w 204"/>
                  <a:gd name="T21" fmla="*/ 0 h 204"/>
                  <a:gd name="T22" fmla="*/ 176 w 204"/>
                  <a:gd name="T23" fmla="*/ 23 h 204"/>
                  <a:gd name="T24" fmla="*/ 180 w 204"/>
                  <a:gd name="T25" fmla="*/ 23 h 204"/>
                  <a:gd name="T26" fmla="*/ 180 w 204"/>
                  <a:gd name="T27" fmla="*/ 28 h 204"/>
                  <a:gd name="T28" fmla="*/ 180 w 204"/>
                  <a:gd name="T29" fmla="*/ 58 h 204"/>
                  <a:gd name="T30" fmla="*/ 146 w 204"/>
                  <a:gd name="T31" fmla="*/ 58 h 204"/>
                  <a:gd name="T32" fmla="*/ 146 w 204"/>
                  <a:gd name="T33" fmla="*/ 24 h 204"/>
                  <a:gd name="T34" fmla="*/ 176 w 204"/>
                  <a:gd name="T35" fmla="*/ 23 h 204"/>
                  <a:gd name="T36" fmla="*/ 73 w 204"/>
                  <a:gd name="T37" fmla="*/ 81 h 204"/>
                  <a:gd name="T38" fmla="*/ 102 w 204"/>
                  <a:gd name="T39" fmla="*/ 66 h 204"/>
                  <a:gd name="T40" fmla="*/ 131 w 204"/>
                  <a:gd name="T41" fmla="*/ 81 h 204"/>
                  <a:gd name="T42" fmla="*/ 138 w 204"/>
                  <a:gd name="T43" fmla="*/ 102 h 204"/>
                  <a:gd name="T44" fmla="*/ 102 w 204"/>
                  <a:gd name="T45" fmla="*/ 138 h 204"/>
                  <a:gd name="T46" fmla="*/ 66 w 204"/>
                  <a:gd name="T47" fmla="*/ 102 h 204"/>
                  <a:gd name="T48" fmla="*/ 73 w 204"/>
                  <a:gd name="T49" fmla="*/ 81 h 204"/>
                  <a:gd name="T50" fmla="*/ 184 w 204"/>
                  <a:gd name="T51" fmla="*/ 164 h 204"/>
                  <a:gd name="T52" fmla="*/ 164 w 204"/>
                  <a:gd name="T53" fmla="*/ 184 h 204"/>
                  <a:gd name="T54" fmla="*/ 39 w 204"/>
                  <a:gd name="T55" fmla="*/ 184 h 204"/>
                  <a:gd name="T56" fmla="*/ 20 w 204"/>
                  <a:gd name="T57" fmla="*/ 164 h 204"/>
                  <a:gd name="T58" fmla="*/ 20 w 204"/>
                  <a:gd name="T59" fmla="*/ 81 h 204"/>
                  <a:gd name="T60" fmla="*/ 50 w 204"/>
                  <a:gd name="T61" fmla="*/ 81 h 204"/>
                  <a:gd name="T62" fmla="*/ 46 w 204"/>
                  <a:gd name="T63" fmla="*/ 102 h 204"/>
                  <a:gd name="T64" fmla="*/ 102 w 204"/>
                  <a:gd name="T65" fmla="*/ 158 h 204"/>
                  <a:gd name="T66" fmla="*/ 157 w 204"/>
                  <a:gd name="T67" fmla="*/ 102 h 204"/>
                  <a:gd name="T68" fmla="*/ 153 w 204"/>
                  <a:gd name="T69" fmla="*/ 81 h 204"/>
                  <a:gd name="T70" fmla="*/ 184 w 204"/>
                  <a:gd name="T71" fmla="*/ 81 h 204"/>
                  <a:gd name="T72" fmla="*/ 184 w 204"/>
                  <a:gd name="T73" fmla="*/ 16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4" h="204">
                    <a:moveTo>
                      <a:pt x="164" y="0"/>
                    </a:moveTo>
                    <a:cubicBezTo>
                      <a:pt x="39" y="0"/>
                      <a:pt x="39" y="0"/>
                      <a:pt x="39" y="0"/>
                    </a:cubicBezTo>
                    <a:cubicBezTo>
                      <a:pt x="17" y="0"/>
                      <a:pt x="0" y="18"/>
                      <a:pt x="0" y="39"/>
                    </a:cubicBezTo>
                    <a:cubicBezTo>
                      <a:pt x="0" y="81"/>
                      <a:pt x="0" y="81"/>
                      <a:pt x="0" y="81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0" y="186"/>
                      <a:pt x="17" y="204"/>
                      <a:pt x="39" y="204"/>
                    </a:cubicBezTo>
                    <a:cubicBezTo>
                      <a:pt x="164" y="204"/>
                      <a:pt x="164" y="204"/>
                      <a:pt x="164" y="204"/>
                    </a:cubicBezTo>
                    <a:cubicBezTo>
                      <a:pt x="186" y="204"/>
                      <a:pt x="204" y="186"/>
                      <a:pt x="204" y="164"/>
                    </a:cubicBezTo>
                    <a:cubicBezTo>
                      <a:pt x="204" y="81"/>
                      <a:pt x="204" y="81"/>
                      <a:pt x="204" y="81"/>
                    </a:cubicBezTo>
                    <a:cubicBezTo>
                      <a:pt x="204" y="39"/>
                      <a:pt x="204" y="39"/>
                      <a:pt x="204" y="39"/>
                    </a:cubicBezTo>
                    <a:cubicBezTo>
                      <a:pt x="204" y="18"/>
                      <a:pt x="186" y="0"/>
                      <a:pt x="164" y="0"/>
                    </a:cubicBezTo>
                    <a:close/>
                    <a:moveTo>
                      <a:pt x="176" y="23"/>
                    </a:moveTo>
                    <a:cubicBezTo>
                      <a:pt x="180" y="23"/>
                      <a:pt x="180" y="23"/>
                      <a:pt x="180" y="23"/>
                    </a:cubicBezTo>
                    <a:cubicBezTo>
                      <a:pt x="180" y="28"/>
                      <a:pt x="180" y="28"/>
                      <a:pt x="180" y="28"/>
                    </a:cubicBezTo>
                    <a:cubicBezTo>
                      <a:pt x="180" y="58"/>
                      <a:pt x="180" y="58"/>
                      <a:pt x="180" y="58"/>
                    </a:cubicBezTo>
                    <a:cubicBezTo>
                      <a:pt x="146" y="58"/>
                      <a:pt x="146" y="58"/>
                      <a:pt x="146" y="58"/>
                    </a:cubicBezTo>
                    <a:cubicBezTo>
                      <a:pt x="146" y="24"/>
                      <a:pt x="146" y="24"/>
                      <a:pt x="146" y="24"/>
                    </a:cubicBezTo>
                    <a:lnTo>
                      <a:pt x="176" y="23"/>
                    </a:lnTo>
                    <a:close/>
                    <a:moveTo>
                      <a:pt x="73" y="81"/>
                    </a:moveTo>
                    <a:cubicBezTo>
                      <a:pt x="79" y="72"/>
                      <a:pt x="90" y="66"/>
                      <a:pt x="102" y="66"/>
                    </a:cubicBezTo>
                    <a:cubicBezTo>
                      <a:pt x="114" y="66"/>
                      <a:pt x="124" y="72"/>
                      <a:pt x="131" y="81"/>
                    </a:cubicBezTo>
                    <a:cubicBezTo>
                      <a:pt x="135" y="87"/>
                      <a:pt x="138" y="94"/>
                      <a:pt x="138" y="102"/>
                    </a:cubicBezTo>
                    <a:cubicBezTo>
                      <a:pt x="138" y="122"/>
                      <a:pt x="121" y="138"/>
                      <a:pt x="102" y="138"/>
                    </a:cubicBezTo>
                    <a:cubicBezTo>
                      <a:pt x="82" y="138"/>
                      <a:pt x="66" y="122"/>
                      <a:pt x="66" y="102"/>
                    </a:cubicBezTo>
                    <a:cubicBezTo>
                      <a:pt x="66" y="94"/>
                      <a:pt x="68" y="87"/>
                      <a:pt x="73" y="81"/>
                    </a:cubicBezTo>
                    <a:close/>
                    <a:moveTo>
                      <a:pt x="184" y="164"/>
                    </a:moveTo>
                    <a:cubicBezTo>
                      <a:pt x="184" y="175"/>
                      <a:pt x="175" y="184"/>
                      <a:pt x="164" y="184"/>
                    </a:cubicBezTo>
                    <a:cubicBezTo>
                      <a:pt x="39" y="184"/>
                      <a:pt x="39" y="184"/>
                      <a:pt x="39" y="184"/>
                    </a:cubicBezTo>
                    <a:cubicBezTo>
                      <a:pt x="28" y="184"/>
                      <a:pt x="20" y="175"/>
                      <a:pt x="20" y="164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47" y="87"/>
                      <a:pt x="46" y="95"/>
                      <a:pt x="46" y="102"/>
                    </a:cubicBezTo>
                    <a:cubicBezTo>
                      <a:pt x="46" y="133"/>
                      <a:pt x="71" y="158"/>
                      <a:pt x="102" y="158"/>
                    </a:cubicBezTo>
                    <a:cubicBezTo>
                      <a:pt x="132" y="158"/>
                      <a:pt x="157" y="133"/>
                      <a:pt x="157" y="102"/>
                    </a:cubicBezTo>
                    <a:cubicBezTo>
                      <a:pt x="157" y="95"/>
                      <a:pt x="156" y="87"/>
                      <a:pt x="153" y="81"/>
                    </a:cubicBezTo>
                    <a:cubicBezTo>
                      <a:pt x="184" y="81"/>
                      <a:pt x="184" y="81"/>
                      <a:pt x="184" y="81"/>
                    </a:cubicBezTo>
                    <a:lnTo>
                      <a:pt x="184" y="16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7" name="ïṥ1îḑè"/>
            <p:cNvGrpSpPr/>
            <p:nvPr/>
          </p:nvGrpSpPr>
          <p:grpSpPr>
            <a:xfrm>
              <a:off x="7761000" y="1854000"/>
              <a:ext cx="3759488" cy="1064335"/>
              <a:chOff x="8661000" y="1734665"/>
              <a:chExt cx="2295000" cy="1064335"/>
            </a:xfrm>
          </p:grpSpPr>
          <p:sp>
            <p:nvSpPr>
              <p:cNvPr id="17" name="ïŝľíḋé"/>
              <p:cNvSpPr txBox="1"/>
              <p:nvPr/>
            </p:nvSpPr>
            <p:spPr>
              <a:xfrm>
                <a:off x="8661000" y="1734665"/>
                <a:ext cx="2295000" cy="43941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none" lIns="91440" tIns="45720" rIns="91440" bIns="45720" anchor="t" anchorCtr="0">
                <a:normAutofit/>
              </a:bodyPr>
              <a:lstStyle/>
              <a:p>
                <a:pPr algn="r">
                  <a:buSzPct val="25000"/>
                </a:pPr>
                <a:r>
                  <a:rPr lang="zh-CN" altLang="en-US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rPr>
                  <a:t>添加标题内容</a:t>
                </a:r>
                <a:endParaRPr lang="de-DE" sz="2000" b="1" dirty="0">
                  <a:solidFill>
                    <a:schemeClr val="bg1"/>
                  </a:solidFill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18" name="ïsľídé"/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 fontScale="92500"/>
              </a:bodyPr>
              <a:lstStyle/>
              <a:p>
                <a:pPr algn="r">
                  <a:lnSpc>
                    <a:spcPct val="150000"/>
                  </a:lnSpc>
                  <a:buSzPct val="25000"/>
                </a:pPr>
                <a:r>
                  <a:rPr lang="zh-CN" altLang="en-US" sz="12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</p:grpSp>
        <p:grpSp>
          <p:nvGrpSpPr>
            <p:cNvPr id="8" name="i$ḷïḓe"/>
            <p:cNvGrpSpPr/>
            <p:nvPr/>
          </p:nvGrpSpPr>
          <p:grpSpPr>
            <a:xfrm>
              <a:off x="8349502" y="3871928"/>
              <a:ext cx="3170986" cy="1064335"/>
              <a:chOff x="8661000" y="1734665"/>
              <a:chExt cx="2295000" cy="1064335"/>
            </a:xfrm>
          </p:grpSpPr>
          <p:sp>
            <p:nvSpPr>
              <p:cNvPr id="15" name="iṣļïḋè"/>
              <p:cNvSpPr txBox="1"/>
              <p:nvPr/>
            </p:nvSpPr>
            <p:spPr>
              <a:xfrm>
                <a:off x="8661000" y="1734665"/>
                <a:ext cx="2295000" cy="4394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/>
              </a:bodyPr>
              <a:lstStyle/>
              <a:p>
                <a:pPr algn="r">
                  <a:buSzPct val="25000"/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标题内容</a:t>
                </a:r>
                <a:endParaRPr lang="de-DE" altLang="zh-CN" sz="2000" b="1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16" name="íšľíḑé"/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 lnSpcReduction="10000"/>
              </a:bodyPr>
              <a:lstStyle/>
              <a:p>
                <a:r>
                  <a:rPr lang="zh-CN" altLang="en-US" sz="12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</p:grpSp>
        <p:grpSp>
          <p:nvGrpSpPr>
            <p:cNvPr id="9" name="ís1îḓè"/>
            <p:cNvGrpSpPr/>
            <p:nvPr/>
          </p:nvGrpSpPr>
          <p:grpSpPr>
            <a:xfrm>
              <a:off x="673100" y="3871928"/>
              <a:ext cx="3639397" cy="1064335"/>
              <a:chOff x="8661000" y="1734665"/>
              <a:chExt cx="2295000" cy="1064335"/>
            </a:xfrm>
          </p:grpSpPr>
          <p:sp>
            <p:nvSpPr>
              <p:cNvPr id="13" name="ïšľîḋé"/>
              <p:cNvSpPr txBox="1"/>
              <p:nvPr/>
            </p:nvSpPr>
            <p:spPr>
              <a:xfrm>
                <a:off x="8661000" y="1734665"/>
                <a:ext cx="2295000" cy="4394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/>
              </a:bodyPr>
              <a:lstStyle/>
              <a:p>
                <a:pPr>
                  <a:buSzPct val="25000"/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标题内容</a:t>
                </a:r>
                <a:endParaRPr lang="de-DE" altLang="zh-CN" sz="2000" b="1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14" name="îşlïḍê"/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 lnSpcReduction="10000"/>
              </a:bodyPr>
              <a:lstStyle/>
              <a:p>
                <a:r>
                  <a:rPr lang="zh-CN" altLang="en-US" sz="12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</p:grpSp>
        <p:grpSp>
          <p:nvGrpSpPr>
            <p:cNvPr id="10" name="îslïḑé"/>
            <p:cNvGrpSpPr/>
            <p:nvPr/>
          </p:nvGrpSpPr>
          <p:grpSpPr>
            <a:xfrm>
              <a:off x="673100" y="1854000"/>
              <a:ext cx="3076574" cy="1064335"/>
              <a:chOff x="8661000" y="1734665"/>
              <a:chExt cx="2295000" cy="1064335"/>
            </a:xfrm>
          </p:grpSpPr>
          <p:sp>
            <p:nvSpPr>
              <p:cNvPr id="11" name="iṧḻiḑé"/>
              <p:cNvSpPr txBox="1"/>
              <p:nvPr/>
            </p:nvSpPr>
            <p:spPr>
              <a:xfrm>
                <a:off x="8661000" y="1734665"/>
                <a:ext cx="2295000" cy="4394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t" anchorCtr="0">
                <a:normAutofit/>
              </a:bodyPr>
              <a:lstStyle/>
              <a:p>
                <a:pPr>
                  <a:buSzPct val="25000"/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标题内容</a:t>
                </a:r>
                <a:endParaRPr lang="de-DE" sz="2000" b="1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12" name="ïšļîďé"/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rmAutofit lnSpcReduction="10000"/>
              </a:bodyPr>
              <a:lstStyle/>
              <a:p>
                <a:r>
                  <a:rPr lang="zh-CN" altLang="en-US" sz="12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</p:grpSp>
      </p:grpSp>
      <p:sp>
        <p:nvSpPr>
          <p:cNvPr id="27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3005430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2723179" y="-524427"/>
            <a:ext cx="6405581" cy="7786747"/>
            <a:chOff x="1478942" y="1316080"/>
            <a:chExt cx="2512613" cy="2432540"/>
          </a:xfrm>
        </p:grpSpPr>
        <p:sp>
          <p:nvSpPr>
            <p:cNvPr id="24" name="文本框 23"/>
            <p:cNvSpPr txBox="1"/>
            <p:nvPr/>
          </p:nvSpPr>
          <p:spPr>
            <a:xfrm>
              <a:off x="1886115" y="1316080"/>
              <a:ext cx="803059" cy="2432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50000" b="1" i="1" dirty="0">
                  <a:solidFill>
                    <a:srgbClr val="C00000"/>
                  </a:solidFill>
                  <a:latin typeface="阿里巴巴普惠体" panose="00020600040101010101" pitchFamily="18" charset="-122"/>
                  <a:ea typeface="阿里巴巴普惠体" panose="00020600040101010101" pitchFamily="18" charset="-122"/>
                </a:rPr>
                <a:t>2</a:t>
              </a:r>
              <a:endParaRPr kumimoji="0" lang="zh-CN" altLang="en-US" sz="500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阿里巴巴普惠体" panose="00020600040101010101" pitchFamily="18" charset="-122"/>
                <a:ea typeface="阿里巴巴普惠体" panose="00020600040101010101" pitchFamily="18" charset="-122"/>
              </a:endParaRPr>
            </a:p>
          </p:txBody>
        </p:sp>
        <p:grpSp>
          <p:nvGrpSpPr>
            <p:cNvPr id="23" name="组合 22"/>
            <p:cNvGrpSpPr/>
            <p:nvPr/>
          </p:nvGrpSpPr>
          <p:grpSpPr>
            <a:xfrm>
              <a:off x="1478942" y="2415209"/>
              <a:ext cx="2512613" cy="588396"/>
              <a:chOff x="1478942" y="2415209"/>
              <a:chExt cx="2512613" cy="588396"/>
            </a:xfrm>
          </p:grpSpPr>
          <p:cxnSp>
            <p:nvCxnSpPr>
              <p:cNvPr id="10" name="直接连接符 9"/>
              <p:cNvCxnSpPr/>
              <p:nvPr/>
            </p:nvCxnSpPr>
            <p:spPr>
              <a:xfrm>
                <a:off x="1478942" y="2415209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箭头连接符 11"/>
              <p:cNvCxnSpPr/>
              <p:nvPr/>
            </p:nvCxnSpPr>
            <p:spPr>
              <a:xfrm>
                <a:off x="1478942" y="2415209"/>
                <a:ext cx="0" cy="246491"/>
              </a:xfrm>
              <a:prstGeom prst="straightConnector1">
                <a:avLst/>
              </a:prstGeom>
              <a:ln w="19050" cap="rnd">
                <a:solidFill>
                  <a:srgbClr val="000000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/>
              <p:nvPr/>
            </p:nvCxnSpPr>
            <p:spPr>
              <a:xfrm>
                <a:off x="3991555" y="2415209"/>
                <a:ext cx="0" cy="5883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/>
              <p:nvPr/>
            </p:nvCxnSpPr>
            <p:spPr>
              <a:xfrm>
                <a:off x="1478942" y="3003605"/>
                <a:ext cx="2512613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文本框 21"/>
              <p:cNvSpPr txBox="1"/>
              <p:nvPr/>
            </p:nvSpPr>
            <p:spPr>
              <a:xfrm>
                <a:off x="1886115" y="2595893"/>
                <a:ext cx="1885782" cy="124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di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+mn-cs"/>
                  </a:rPr>
                  <a:t>添加标题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415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883182"/>
            <a:ext cx="12192000" cy="5138013"/>
            <a:chOff x="0" y="1883182"/>
            <a:chExt cx="12192000" cy="5138013"/>
          </a:xfrm>
        </p:grpSpPr>
        <p:sp>
          <p:nvSpPr>
            <p:cNvPr id="6" name="îşḷiďê"/>
            <p:cNvSpPr/>
            <p:nvPr/>
          </p:nvSpPr>
          <p:spPr>
            <a:xfrm>
              <a:off x="6106161" y="2387912"/>
              <a:ext cx="3027042" cy="4633283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7" name="íŝ1ïḓè"/>
            <p:cNvSpPr/>
            <p:nvPr/>
          </p:nvSpPr>
          <p:spPr>
            <a:xfrm>
              <a:off x="0" y="1883182"/>
              <a:ext cx="6197600" cy="158496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8" name="íṥ1îḓé"/>
            <p:cNvSpPr/>
            <p:nvPr/>
          </p:nvSpPr>
          <p:spPr>
            <a:xfrm>
              <a:off x="8727441" y="1883182"/>
              <a:ext cx="3464559" cy="15849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>
                <a:ea typeface="阿里巴巴普惠体" panose="00020600040101010101" pitchFamily="18" charset="-122"/>
              </a:endParaRPr>
            </a:p>
          </p:txBody>
        </p:sp>
        <p:grpSp>
          <p:nvGrpSpPr>
            <p:cNvPr id="9" name="îŝḷíḓé"/>
            <p:cNvGrpSpPr/>
            <p:nvPr/>
          </p:nvGrpSpPr>
          <p:grpSpPr>
            <a:xfrm>
              <a:off x="8829040" y="2116265"/>
              <a:ext cx="2691447" cy="1118794"/>
              <a:chOff x="8829040" y="2204290"/>
              <a:chExt cx="2691447" cy="1118794"/>
            </a:xfrm>
          </p:grpSpPr>
          <p:sp>
            <p:nvSpPr>
              <p:cNvPr id="38" name="ïṧḷïďê"/>
              <p:cNvSpPr txBox="1"/>
              <p:nvPr/>
            </p:nvSpPr>
            <p:spPr>
              <a:xfrm>
                <a:off x="8829041" y="2597679"/>
                <a:ext cx="2691446" cy="7254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39" name="îśḷïdé"/>
              <p:cNvSpPr txBox="1"/>
              <p:nvPr/>
            </p:nvSpPr>
            <p:spPr>
              <a:xfrm>
                <a:off x="8829040" y="2204290"/>
                <a:ext cx="2691447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r>
                  <a:rPr lang="en-US" altLang="zh-CN" b="1" dirty="0">
                    <a:ea typeface="阿里巴巴普惠体" panose="00020600040101010101" pitchFamily="18" charset="-122"/>
                  </a:rPr>
                  <a:t>01.</a:t>
                </a:r>
                <a:r>
                  <a:rPr lang="zh-CN" altLang="en-US" b="1" dirty="0">
                    <a:ea typeface="阿里巴巴普惠体" panose="00020600040101010101" pitchFamily="18" charset="-122"/>
                  </a:rPr>
                  <a:t>添加文本内容</a:t>
                </a:r>
                <a:endParaRPr lang="en-US" altLang="zh-CN" b="1" dirty="0">
                  <a:ea typeface="阿里巴巴普惠体" panose="00020600040101010101" pitchFamily="18" charset="-122"/>
                </a:endParaRPr>
              </a:p>
            </p:txBody>
          </p:sp>
        </p:grpSp>
        <p:sp>
          <p:nvSpPr>
            <p:cNvPr id="10" name="íšḷïḓé"/>
            <p:cNvSpPr/>
            <p:nvPr/>
          </p:nvSpPr>
          <p:spPr>
            <a:xfrm>
              <a:off x="6197601" y="1883182"/>
              <a:ext cx="2529840" cy="1584960"/>
            </a:xfrm>
            <a:prstGeom prst="rect">
              <a:avLst/>
            </a:prstGeom>
            <a:solidFill>
              <a:schemeClr val="tx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r>
                <a:rPr lang="zh-CN" altLang="en-US" sz="2000" dirty="0">
                  <a:ea typeface="阿里巴巴普惠体" panose="00020600040101010101" pitchFamily="18" charset="-122"/>
                </a:rPr>
                <a:t>输入文本</a:t>
              </a:r>
            </a:p>
          </p:txBody>
        </p:sp>
        <p:grpSp>
          <p:nvGrpSpPr>
            <p:cNvPr id="11" name="iśḻîďe"/>
            <p:cNvGrpSpPr/>
            <p:nvPr/>
          </p:nvGrpSpPr>
          <p:grpSpPr>
            <a:xfrm>
              <a:off x="751205" y="2098688"/>
              <a:ext cx="5142233" cy="1153949"/>
              <a:chOff x="751205" y="2006031"/>
              <a:chExt cx="5142233" cy="1153949"/>
            </a:xfrm>
          </p:grpSpPr>
          <p:grpSp>
            <p:nvGrpSpPr>
              <p:cNvPr id="32" name="ïšḷíḑe"/>
              <p:cNvGrpSpPr/>
              <p:nvPr/>
            </p:nvGrpSpPr>
            <p:grpSpPr>
              <a:xfrm>
                <a:off x="751205" y="2221055"/>
                <a:ext cx="723900" cy="723900"/>
                <a:chOff x="751205" y="2221055"/>
                <a:chExt cx="723900" cy="723900"/>
              </a:xfrm>
            </p:grpSpPr>
            <p:sp>
              <p:nvSpPr>
                <p:cNvPr id="36" name="íṥ1íḑe"/>
                <p:cNvSpPr/>
                <p:nvPr/>
              </p:nvSpPr>
              <p:spPr>
                <a:xfrm>
                  <a:off x="751205" y="2221055"/>
                  <a:ext cx="723900" cy="723900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pPr algn="ctr"/>
                  <a:endParaRPr lang="zh-CN" altLang="en-US" dirty="0">
                    <a:solidFill>
                      <a:schemeClr val="bg1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37" name="ïṡľïḓê"/>
                <p:cNvSpPr/>
                <p:nvPr/>
              </p:nvSpPr>
              <p:spPr bwMode="auto">
                <a:xfrm>
                  <a:off x="913443" y="2421357"/>
                  <a:ext cx="399424" cy="323296"/>
                </a:xfrm>
                <a:custGeom>
                  <a:avLst/>
                  <a:gdLst>
                    <a:gd name="connsiteX0" fmla="*/ 355420 w 607568"/>
                    <a:gd name="connsiteY0" fmla="*/ 250307 h 491771"/>
                    <a:gd name="connsiteX1" fmla="*/ 352312 w 607568"/>
                    <a:gd name="connsiteY1" fmla="*/ 251812 h 491771"/>
                    <a:gd name="connsiteX2" fmla="*/ 321042 w 607568"/>
                    <a:gd name="connsiteY2" fmla="*/ 289814 h 491771"/>
                    <a:gd name="connsiteX3" fmla="*/ 321513 w 607568"/>
                    <a:gd name="connsiteY3" fmla="*/ 295364 h 491771"/>
                    <a:gd name="connsiteX4" fmla="*/ 369736 w 607568"/>
                    <a:gd name="connsiteY4" fmla="*/ 338257 h 491771"/>
                    <a:gd name="connsiteX5" fmla="*/ 371997 w 607568"/>
                    <a:gd name="connsiteY5" fmla="*/ 339104 h 491771"/>
                    <a:gd name="connsiteX6" fmla="*/ 373127 w 607568"/>
                    <a:gd name="connsiteY6" fmla="*/ 338916 h 491771"/>
                    <a:gd name="connsiteX7" fmla="*/ 375293 w 607568"/>
                    <a:gd name="connsiteY7" fmla="*/ 336282 h 491771"/>
                    <a:gd name="connsiteX8" fmla="*/ 383676 w 607568"/>
                    <a:gd name="connsiteY8" fmla="*/ 279467 h 491771"/>
                    <a:gd name="connsiteX9" fmla="*/ 376424 w 607568"/>
                    <a:gd name="connsiteY9" fmla="*/ 263287 h 491771"/>
                    <a:gd name="connsiteX10" fmla="*/ 357681 w 607568"/>
                    <a:gd name="connsiteY10" fmla="*/ 250965 h 491771"/>
                    <a:gd name="connsiteX11" fmla="*/ 355420 w 607568"/>
                    <a:gd name="connsiteY11" fmla="*/ 250307 h 491771"/>
                    <a:gd name="connsiteX12" fmla="*/ 258879 w 607568"/>
                    <a:gd name="connsiteY12" fmla="*/ 250307 h 491771"/>
                    <a:gd name="connsiteX13" fmla="*/ 256712 w 607568"/>
                    <a:gd name="connsiteY13" fmla="*/ 250965 h 491771"/>
                    <a:gd name="connsiteX14" fmla="*/ 237969 w 607568"/>
                    <a:gd name="connsiteY14" fmla="*/ 263287 h 491771"/>
                    <a:gd name="connsiteX15" fmla="*/ 230717 w 607568"/>
                    <a:gd name="connsiteY15" fmla="*/ 279467 h 491771"/>
                    <a:gd name="connsiteX16" fmla="*/ 239100 w 607568"/>
                    <a:gd name="connsiteY16" fmla="*/ 336282 h 491771"/>
                    <a:gd name="connsiteX17" fmla="*/ 241266 w 607568"/>
                    <a:gd name="connsiteY17" fmla="*/ 338916 h 491771"/>
                    <a:gd name="connsiteX18" fmla="*/ 242396 w 607568"/>
                    <a:gd name="connsiteY18" fmla="*/ 339104 h 491771"/>
                    <a:gd name="connsiteX19" fmla="*/ 244657 w 607568"/>
                    <a:gd name="connsiteY19" fmla="*/ 338257 h 491771"/>
                    <a:gd name="connsiteX20" fmla="*/ 292880 w 607568"/>
                    <a:gd name="connsiteY20" fmla="*/ 295364 h 491771"/>
                    <a:gd name="connsiteX21" fmla="*/ 293351 w 607568"/>
                    <a:gd name="connsiteY21" fmla="*/ 289814 h 491771"/>
                    <a:gd name="connsiteX22" fmla="*/ 261987 w 607568"/>
                    <a:gd name="connsiteY22" fmla="*/ 251812 h 491771"/>
                    <a:gd name="connsiteX23" fmla="*/ 258879 w 607568"/>
                    <a:gd name="connsiteY23" fmla="*/ 250307 h 491771"/>
                    <a:gd name="connsiteX24" fmla="*/ 500465 w 607568"/>
                    <a:gd name="connsiteY24" fmla="*/ 66049 h 491771"/>
                    <a:gd name="connsiteX25" fmla="*/ 565743 w 607568"/>
                    <a:gd name="connsiteY25" fmla="*/ 130673 h 491771"/>
                    <a:gd name="connsiteX26" fmla="*/ 566120 w 607568"/>
                    <a:gd name="connsiteY26" fmla="*/ 130673 h 491771"/>
                    <a:gd name="connsiteX27" fmla="*/ 580250 w 607568"/>
                    <a:gd name="connsiteY27" fmla="*/ 160962 h 491771"/>
                    <a:gd name="connsiteX28" fmla="*/ 560939 w 607568"/>
                    <a:gd name="connsiteY28" fmla="*/ 182503 h 491771"/>
                    <a:gd name="connsiteX29" fmla="*/ 531927 w 607568"/>
                    <a:gd name="connsiteY29" fmla="*/ 223799 h 491771"/>
                    <a:gd name="connsiteX30" fmla="*/ 528253 w 607568"/>
                    <a:gd name="connsiteY30" fmla="*/ 234240 h 491771"/>
                    <a:gd name="connsiteX31" fmla="*/ 530797 w 607568"/>
                    <a:gd name="connsiteY31" fmla="*/ 246281 h 491771"/>
                    <a:gd name="connsiteX32" fmla="*/ 545868 w 607568"/>
                    <a:gd name="connsiteY32" fmla="*/ 261143 h 491771"/>
                    <a:gd name="connsiteX33" fmla="*/ 558961 w 607568"/>
                    <a:gd name="connsiteY33" fmla="*/ 263777 h 491771"/>
                    <a:gd name="connsiteX34" fmla="*/ 597299 w 607568"/>
                    <a:gd name="connsiteY34" fmla="*/ 301968 h 491771"/>
                    <a:gd name="connsiteX35" fmla="*/ 607002 w 607568"/>
                    <a:gd name="connsiteY35" fmla="*/ 350788 h 491771"/>
                    <a:gd name="connsiteX36" fmla="*/ 601256 w 607568"/>
                    <a:gd name="connsiteY36" fmla="*/ 373835 h 491771"/>
                    <a:gd name="connsiteX37" fmla="*/ 579685 w 607568"/>
                    <a:gd name="connsiteY37" fmla="*/ 384088 h 491771"/>
                    <a:gd name="connsiteX38" fmla="*/ 490386 w 607568"/>
                    <a:gd name="connsiteY38" fmla="*/ 384088 h 491771"/>
                    <a:gd name="connsiteX39" fmla="*/ 467685 w 607568"/>
                    <a:gd name="connsiteY39" fmla="*/ 310058 h 491771"/>
                    <a:gd name="connsiteX40" fmla="*/ 431702 w 607568"/>
                    <a:gd name="connsiteY40" fmla="*/ 267445 h 491771"/>
                    <a:gd name="connsiteX41" fmla="*/ 441969 w 607568"/>
                    <a:gd name="connsiteY41" fmla="*/ 263777 h 491771"/>
                    <a:gd name="connsiteX42" fmla="*/ 455157 w 607568"/>
                    <a:gd name="connsiteY42" fmla="*/ 261237 h 491771"/>
                    <a:gd name="connsiteX43" fmla="*/ 470228 w 607568"/>
                    <a:gd name="connsiteY43" fmla="*/ 246281 h 491771"/>
                    <a:gd name="connsiteX44" fmla="*/ 472677 w 607568"/>
                    <a:gd name="connsiteY44" fmla="*/ 234240 h 491771"/>
                    <a:gd name="connsiteX45" fmla="*/ 469098 w 607568"/>
                    <a:gd name="connsiteY45" fmla="*/ 223893 h 491771"/>
                    <a:gd name="connsiteX46" fmla="*/ 439991 w 607568"/>
                    <a:gd name="connsiteY46" fmla="*/ 182503 h 491771"/>
                    <a:gd name="connsiteX47" fmla="*/ 426144 w 607568"/>
                    <a:gd name="connsiteY47" fmla="*/ 172720 h 491771"/>
                    <a:gd name="connsiteX48" fmla="*/ 441404 w 607568"/>
                    <a:gd name="connsiteY48" fmla="*/ 143278 h 491771"/>
                    <a:gd name="connsiteX49" fmla="*/ 439708 w 607568"/>
                    <a:gd name="connsiteY49" fmla="*/ 107438 h 491771"/>
                    <a:gd name="connsiteX50" fmla="*/ 500465 w 607568"/>
                    <a:gd name="connsiteY50" fmla="*/ 66049 h 491771"/>
                    <a:gd name="connsiteX51" fmla="*/ 107100 w 607568"/>
                    <a:gd name="connsiteY51" fmla="*/ 66049 h 491771"/>
                    <a:gd name="connsiteX52" fmla="*/ 171341 w 607568"/>
                    <a:gd name="connsiteY52" fmla="*/ 123618 h 491771"/>
                    <a:gd name="connsiteX53" fmla="*/ 172849 w 607568"/>
                    <a:gd name="connsiteY53" fmla="*/ 143278 h 491771"/>
                    <a:gd name="connsiteX54" fmla="*/ 184246 w 607568"/>
                    <a:gd name="connsiteY54" fmla="*/ 168205 h 491771"/>
                    <a:gd name="connsiteX55" fmla="*/ 167574 w 607568"/>
                    <a:gd name="connsiteY55" fmla="*/ 182503 h 491771"/>
                    <a:gd name="connsiteX56" fmla="*/ 138468 w 607568"/>
                    <a:gd name="connsiteY56" fmla="*/ 223799 h 491771"/>
                    <a:gd name="connsiteX57" fmla="*/ 134794 w 607568"/>
                    <a:gd name="connsiteY57" fmla="*/ 234240 h 491771"/>
                    <a:gd name="connsiteX58" fmla="*/ 137337 w 607568"/>
                    <a:gd name="connsiteY58" fmla="*/ 246281 h 491771"/>
                    <a:gd name="connsiteX59" fmla="*/ 152408 w 607568"/>
                    <a:gd name="connsiteY59" fmla="*/ 261143 h 491771"/>
                    <a:gd name="connsiteX60" fmla="*/ 165596 w 607568"/>
                    <a:gd name="connsiteY60" fmla="*/ 263777 h 491771"/>
                    <a:gd name="connsiteX61" fmla="*/ 179442 w 607568"/>
                    <a:gd name="connsiteY61" fmla="*/ 268856 h 491771"/>
                    <a:gd name="connsiteX62" fmla="*/ 146662 w 607568"/>
                    <a:gd name="connsiteY62" fmla="*/ 310058 h 491771"/>
                    <a:gd name="connsiteX63" fmla="*/ 123867 w 607568"/>
                    <a:gd name="connsiteY63" fmla="*/ 384088 h 491771"/>
                    <a:gd name="connsiteX64" fmla="*/ 27883 w 607568"/>
                    <a:gd name="connsiteY64" fmla="*/ 384088 h 491771"/>
                    <a:gd name="connsiteX65" fmla="*/ 6312 w 607568"/>
                    <a:gd name="connsiteY65" fmla="*/ 373835 h 491771"/>
                    <a:gd name="connsiteX66" fmla="*/ 566 w 607568"/>
                    <a:gd name="connsiteY66" fmla="*/ 350788 h 491771"/>
                    <a:gd name="connsiteX67" fmla="*/ 10268 w 607568"/>
                    <a:gd name="connsiteY67" fmla="*/ 301968 h 491771"/>
                    <a:gd name="connsiteX68" fmla="*/ 48606 w 607568"/>
                    <a:gd name="connsiteY68" fmla="*/ 263777 h 491771"/>
                    <a:gd name="connsiteX69" fmla="*/ 61699 w 607568"/>
                    <a:gd name="connsiteY69" fmla="*/ 261237 h 491771"/>
                    <a:gd name="connsiteX70" fmla="*/ 76770 w 607568"/>
                    <a:gd name="connsiteY70" fmla="*/ 246281 h 491771"/>
                    <a:gd name="connsiteX71" fmla="*/ 79313 w 607568"/>
                    <a:gd name="connsiteY71" fmla="*/ 234240 h 491771"/>
                    <a:gd name="connsiteX72" fmla="*/ 75639 w 607568"/>
                    <a:gd name="connsiteY72" fmla="*/ 223893 h 491771"/>
                    <a:gd name="connsiteX73" fmla="*/ 46628 w 607568"/>
                    <a:gd name="connsiteY73" fmla="*/ 182503 h 491771"/>
                    <a:gd name="connsiteX74" fmla="*/ 27318 w 607568"/>
                    <a:gd name="connsiteY74" fmla="*/ 160962 h 491771"/>
                    <a:gd name="connsiteX75" fmla="*/ 41447 w 607568"/>
                    <a:gd name="connsiteY75" fmla="*/ 130673 h 491771"/>
                    <a:gd name="connsiteX76" fmla="*/ 41824 w 607568"/>
                    <a:gd name="connsiteY76" fmla="*/ 130673 h 491771"/>
                    <a:gd name="connsiteX77" fmla="*/ 107100 w 607568"/>
                    <a:gd name="connsiteY77" fmla="*/ 66049 h 491771"/>
                    <a:gd name="connsiteX78" fmla="*/ 298626 w 607568"/>
                    <a:gd name="connsiteY78" fmla="*/ 0 h 491771"/>
                    <a:gd name="connsiteX79" fmla="*/ 315956 w 607568"/>
                    <a:gd name="connsiteY79" fmla="*/ 0 h 491771"/>
                    <a:gd name="connsiteX80" fmla="*/ 401854 w 607568"/>
                    <a:gd name="connsiteY80" fmla="*/ 85787 h 491771"/>
                    <a:gd name="connsiteX81" fmla="*/ 401854 w 607568"/>
                    <a:gd name="connsiteY81" fmla="*/ 95476 h 491771"/>
                    <a:gd name="connsiteX82" fmla="*/ 421633 w 607568"/>
                    <a:gd name="connsiteY82" fmla="*/ 138840 h 491771"/>
                    <a:gd name="connsiteX83" fmla="*/ 417960 w 607568"/>
                    <a:gd name="connsiteY83" fmla="*/ 149281 h 491771"/>
                    <a:gd name="connsiteX84" fmla="*/ 417112 w 607568"/>
                    <a:gd name="connsiteY84" fmla="*/ 151068 h 491771"/>
                    <a:gd name="connsiteX85" fmla="*/ 411273 w 607568"/>
                    <a:gd name="connsiteY85" fmla="*/ 159534 h 491771"/>
                    <a:gd name="connsiteX86" fmla="*/ 410896 w 607568"/>
                    <a:gd name="connsiteY86" fmla="*/ 159910 h 491771"/>
                    <a:gd name="connsiteX87" fmla="*/ 394037 w 607568"/>
                    <a:gd name="connsiteY87" fmla="*/ 169787 h 491771"/>
                    <a:gd name="connsiteX88" fmla="*/ 384900 w 607568"/>
                    <a:gd name="connsiteY88" fmla="*/ 189541 h 491771"/>
                    <a:gd name="connsiteX89" fmla="*/ 384712 w 607568"/>
                    <a:gd name="connsiteY89" fmla="*/ 189823 h 491771"/>
                    <a:gd name="connsiteX90" fmla="*/ 373316 w 607568"/>
                    <a:gd name="connsiteY90" fmla="*/ 207131 h 491771"/>
                    <a:gd name="connsiteX91" fmla="*/ 372750 w 607568"/>
                    <a:gd name="connsiteY91" fmla="*/ 207789 h 491771"/>
                    <a:gd name="connsiteX92" fmla="*/ 359847 w 607568"/>
                    <a:gd name="connsiteY92" fmla="*/ 222275 h 491771"/>
                    <a:gd name="connsiteX93" fmla="*/ 359188 w 607568"/>
                    <a:gd name="connsiteY93" fmla="*/ 222934 h 491771"/>
                    <a:gd name="connsiteX94" fmla="*/ 345154 w 607568"/>
                    <a:gd name="connsiteY94" fmla="*/ 234598 h 491771"/>
                    <a:gd name="connsiteX95" fmla="*/ 345625 w 607568"/>
                    <a:gd name="connsiteY95" fmla="*/ 236855 h 491771"/>
                    <a:gd name="connsiteX96" fmla="*/ 348639 w 607568"/>
                    <a:gd name="connsiteY96" fmla="*/ 235538 h 491771"/>
                    <a:gd name="connsiteX97" fmla="*/ 355514 w 607568"/>
                    <a:gd name="connsiteY97" fmla="*/ 234033 h 491771"/>
                    <a:gd name="connsiteX98" fmla="*/ 366628 w 607568"/>
                    <a:gd name="connsiteY98" fmla="*/ 237326 h 491771"/>
                    <a:gd name="connsiteX99" fmla="*/ 385371 w 607568"/>
                    <a:gd name="connsiteY99" fmla="*/ 249648 h 491771"/>
                    <a:gd name="connsiteX100" fmla="*/ 399876 w 607568"/>
                    <a:gd name="connsiteY100" fmla="*/ 279373 h 491771"/>
                    <a:gd name="connsiteX101" fmla="*/ 430016 w 607568"/>
                    <a:gd name="connsiteY101" fmla="*/ 289814 h 491771"/>
                    <a:gd name="connsiteX102" fmla="*/ 448382 w 607568"/>
                    <a:gd name="connsiteY102" fmla="*/ 316058 h 491771"/>
                    <a:gd name="connsiteX103" fmla="*/ 481630 w 607568"/>
                    <a:gd name="connsiteY103" fmla="*/ 424515 h 491771"/>
                    <a:gd name="connsiteX104" fmla="*/ 483891 w 607568"/>
                    <a:gd name="connsiteY104" fmla="*/ 436461 h 491771"/>
                    <a:gd name="connsiteX105" fmla="*/ 473718 w 607568"/>
                    <a:gd name="connsiteY105" fmla="*/ 470700 h 491771"/>
                    <a:gd name="connsiteX106" fmla="*/ 443956 w 607568"/>
                    <a:gd name="connsiteY106" fmla="*/ 490360 h 491771"/>
                    <a:gd name="connsiteX107" fmla="*/ 431805 w 607568"/>
                    <a:gd name="connsiteY107" fmla="*/ 491771 h 491771"/>
                    <a:gd name="connsiteX108" fmla="*/ 325375 w 607568"/>
                    <a:gd name="connsiteY108" fmla="*/ 491771 h 491771"/>
                    <a:gd name="connsiteX109" fmla="*/ 337430 w 607568"/>
                    <a:gd name="connsiteY109" fmla="*/ 415296 h 491771"/>
                    <a:gd name="connsiteX110" fmla="*/ 334605 w 607568"/>
                    <a:gd name="connsiteY110" fmla="*/ 389052 h 491771"/>
                    <a:gd name="connsiteX111" fmla="*/ 323962 w 607568"/>
                    <a:gd name="connsiteY111" fmla="*/ 360927 h 491771"/>
                    <a:gd name="connsiteX112" fmla="*/ 337430 w 607568"/>
                    <a:gd name="connsiteY112" fmla="*/ 347476 h 491771"/>
                    <a:gd name="connsiteX113" fmla="*/ 307196 w 607568"/>
                    <a:gd name="connsiteY113" fmla="*/ 317281 h 491771"/>
                    <a:gd name="connsiteX114" fmla="*/ 276868 w 607568"/>
                    <a:gd name="connsiteY114" fmla="*/ 347476 h 491771"/>
                    <a:gd name="connsiteX115" fmla="*/ 290337 w 607568"/>
                    <a:gd name="connsiteY115" fmla="*/ 360927 h 491771"/>
                    <a:gd name="connsiteX116" fmla="*/ 279694 w 607568"/>
                    <a:gd name="connsiteY116" fmla="*/ 389052 h 491771"/>
                    <a:gd name="connsiteX117" fmla="*/ 276963 w 607568"/>
                    <a:gd name="connsiteY117" fmla="*/ 415296 h 491771"/>
                    <a:gd name="connsiteX118" fmla="*/ 288736 w 607568"/>
                    <a:gd name="connsiteY118" fmla="*/ 491771 h 491771"/>
                    <a:gd name="connsiteX119" fmla="*/ 182493 w 607568"/>
                    <a:gd name="connsiteY119" fmla="*/ 491771 h 491771"/>
                    <a:gd name="connsiteX120" fmla="*/ 170437 w 607568"/>
                    <a:gd name="connsiteY120" fmla="*/ 490360 h 491771"/>
                    <a:gd name="connsiteX121" fmla="*/ 140675 w 607568"/>
                    <a:gd name="connsiteY121" fmla="*/ 470700 h 491771"/>
                    <a:gd name="connsiteX122" fmla="*/ 132669 w 607568"/>
                    <a:gd name="connsiteY122" fmla="*/ 424515 h 491771"/>
                    <a:gd name="connsiteX123" fmla="*/ 166011 w 607568"/>
                    <a:gd name="connsiteY123" fmla="*/ 316058 h 491771"/>
                    <a:gd name="connsiteX124" fmla="*/ 184377 w 607568"/>
                    <a:gd name="connsiteY124" fmla="*/ 289814 h 491771"/>
                    <a:gd name="connsiteX125" fmla="*/ 214517 w 607568"/>
                    <a:gd name="connsiteY125" fmla="*/ 279373 h 491771"/>
                    <a:gd name="connsiteX126" fmla="*/ 214517 w 607568"/>
                    <a:gd name="connsiteY126" fmla="*/ 279279 h 491771"/>
                    <a:gd name="connsiteX127" fmla="*/ 229022 w 607568"/>
                    <a:gd name="connsiteY127" fmla="*/ 249648 h 491771"/>
                    <a:gd name="connsiteX128" fmla="*/ 247765 w 607568"/>
                    <a:gd name="connsiteY128" fmla="*/ 237326 h 491771"/>
                    <a:gd name="connsiteX129" fmla="*/ 258879 w 607568"/>
                    <a:gd name="connsiteY129" fmla="*/ 234033 h 491771"/>
                    <a:gd name="connsiteX130" fmla="*/ 265754 w 607568"/>
                    <a:gd name="connsiteY130" fmla="*/ 235538 h 491771"/>
                    <a:gd name="connsiteX131" fmla="*/ 268768 w 607568"/>
                    <a:gd name="connsiteY131" fmla="*/ 236855 h 491771"/>
                    <a:gd name="connsiteX132" fmla="*/ 269239 w 607568"/>
                    <a:gd name="connsiteY132" fmla="*/ 234598 h 491771"/>
                    <a:gd name="connsiteX133" fmla="*/ 255205 w 607568"/>
                    <a:gd name="connsiteY133" fmla="*/ 222934 h 491771"/>
                    <a:gd name="connsiteX134" fmla="*/ 254546 w 607568"/>
                    <a:gd name="connsiteY134" fmla="*/ 222275 h 491771"/>
                    <a:gd name="connsiteX135" fmla="*/ 241548 w 607568"/>
                    <a:gd name="connsiteY135" fmla="*/ 207789 h 491771"/>
                    <a:gd name="connsiteX136" fmla="*/ 241077 w 607568"/>
                    <a:gd name="connsiteY136" fmla="*/ 207225 h 491771"/>
                    <a:gd name="connsiteX137" fmla="*/ 229681 w 607568"/>
                    <a:gd name="connsiteY137" fmla="*/ 189823 h 491771"/>
                    <a:gd name="connsiteX138" fmla="*/ 229493 w 607568"/>
                    <a:gd name="connsiteY138" fmla="*/ 189635 h 491771"/>
                    <a:gd name="connsiteX139" fmla="*/ 220356 w 607568"/>
                    <a:gd name="connsiteY139" fmla="*/ 169787 h 491771"/>
                    <a:gd name="connsiteX140" fmla="*/ 203497 w 607568"/>
                    <a:gd name="connsiteY140" fmla="*/ 159910 h 491771"/>
                    <a:gd name="connsiteX141" fmla="*/ 203120 w 607568"/>
                    <a:gd name="connsiteY141" fmla="*/ 159534 h 491771"/>
                    <a:gd name="connsiteX142" fmla="*/ 197281 w 607568"/>
                    <a:gd name="connsiteY142" fmla="*/ 151068 h 491771"/>
                    <a:gd name="connsiteX143" fmla="*/ 196433 w 607568"/>
                    <a:gd name="connsiteY143" fmla="*/ 149281 h 491771"/>
                    <a:gd name="connsiteX144" fmla="*/ 192666 w 607568"/>
                    <a:gd name="connsiteY144" fmla="*/ 138840 h 491771"/>
                    <a:gd name="connsiteX145" fmla="*/ 212727 w 607568"/>
                    <a:gd name="connsiteY145" fmla="*/ 95476 h 491771"/>
                    <a:gd name="connsiteX146" fmla="*/ 212727 w 607568"/>
                    <a:gd name="connsiteY146" fmla="*/ 85787 h 491771"/>
                    <a:gd name="connsiteX147" fmla="*/ 298626 w 607568"/>
                    <a:gd name="connsiteY147" fmla="*/ 0 h 491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</a:cxnLst>
                  <a:rect l="l" t="t" r="r" b="b"/>
                  <a:pathLst>
                    <a:path w="607568" h="491771">
                      <a:moveTo>
                        <a:pt x="355420" y="250307"/>
                      </a:moveTo>
                      <a:cubicBezTo>
                        <a:pt x="354290" y="250307"/>
                        <a:pt x="353160" y="250871"/>
                        <a:pt x="352312" y="251812"/>
                      </a:cubicBezTo>
                      <a:lnTo>
                        <a:pt x="321042" y="289814"/>
                      </a:lnTo>
                      <a:cubicBezTo>
                        <a:pt x="319723" y="291507"/>
                        <a:pt x="319912" y="293953"/>
                        <a:pt x="321513" y="295364"/>
                      </a:cubicBezTo>
                      <a:lnTo>
                        <a:pt x="369736" y="338257"/>
                      </a:lnTo>
                      <a:cubicBezTo>
                        <a:pt x="370396" y="338822"/>
                        <a:pt x="371149" y="339104"/>
                        <a:pt x="371997" y="339104"/>
                      </a:cubicBezTo>
                      <a:cubicBezTo>
                        <a:pt x="372374" y="339104"/>
                        <a:pt x="372750" y="339010"/>
                        <a:pt x="373127" y="338916"/>
                      </a:cubicBezTo>
                      <a:cubicBezTo>
                        <a:pt x="374257" y="338539"/>
                        <a:pt x="375105" y="337505"/>
                        <a:pt x="375293" y="336282"/>
                      </a:cubicBezTo>
                      <a:lnTo>
                        <a:pt x="383676" y="279467"/>
                      </a:lnTo>
                      <a:cubicBezTo>
                        <a:pt x="384618" y="273164"/>
                        <a:pt x="381792" y="266768"/>
                        <a:pt x="376424" y="263287"/>
                      </a:cubicBezTo>
                      <a:lnTo>
                        <a:pt x="357681" y="250965"/>
                      </a:lnTo>
                      <a:cubicBezTo>
                        <a:pt x="357021" y="250495"/>
                        <a:pt x="356174" y="250307"/>
                        <a:pt x="355420" y="250307"/>
                      </a:cubicBezTo>
                      <a:close/>
                      <a:moveTo>
                        <a:pt x="258879" y="250307"/>
                      </a:moveTo>
                      <a:cubicBezTo>
                        <a:pt x="258125" y="250307"/>
                        <a:pt x="257372" y="250495"/>
                        <a:pt x="256712" y="250965"/>
                      </a:cubicBezTo>
                      <a:lnTo>
                        <a:pt x="237969" y="263287"/>
                      </a:lnTo>
                      <a:cubicBezTo>
                        <a:pt x="232601" y="266768"/>
                        <a:pt x="229775" y="273164"/>
                        <a:pt x="230717" y="279467"/>
                      </a:cubicBezTo>
                      <a:lnTo>
                        <a:pt x="239100" y="336282"/>
                      </a:lnTo>
                      <a:cubicBezTo>
                        <a:pt x="239288" y="337505"/>
                        <a:pt x="240136" y="338539"/>
                        <a:pt x="241266" y="338916"/>
                      </a:cubicBezTo>
                      <a:cubicBezTo>
                        <a:pt x="241643" y="339010"/>
                        <a:pt x="242019" y="339104"/>
                        <a:pt x="242396" y="339104"/>
                      </a:cubicBezTo>
                      <a:cubicBezTo>
                        <a:pt x="243244" y="339104"/>
                        <a:pt x="243997" y="338822"/>
                        <a:pt x="244657" y="338257"/>
                      </a:cubicBezTo>
                      <a:lnTo>
                        <a:pt x="292880" y="295364"/>
                      </a:lnTo>
                      <a:cubicBezTo>
                        <a:pt x="294481" y="293953"/>
                        <a:pt x="294670" y="291507"/>
                        <a:pt x="293351" y="289814"/>
                      </a:cubicBezTo>
                      <a:lnTo>
                        <a:pt x="261987" y="251812"/>
                      </a:lnTo>
                      <a:cubicBezTo>
                        <a:pt x="261233" y="250871"/>
                        <a:pt x="260103" y="250307"/>
                        <a:pt x="258879" y="250307"/>
                      </a:cubicBezTo>
                      <a:close/>
                      <a:moveTo>
                        <a:pt x="500465" y="66049"/>
                      </a:moveTo>
                      <a:cubicBezTo>
                        <a:pt x="548129" y="66049"/>
                        <a:pt x="562447" y="93516"/>
                        <a:pt x="565743" y="130673"/>
                      </a:cubicBezTo>
                      <a:cubicBezTo>
                        <a:pt x="565932" y="130673"/>
                        <a:pt x="566026" y="130673"/>
                        <a:pt x="566120" y="130673"/>
                      </a:cubicBezTo>
                      <a:cubicBezTo>
                        <a:pt x="577141" y="133118"/>
                        <a:pt x="583358" y="146664"/>
                        <a:pt x="580250" y="160962"/>
                      </a:cubicBezTo>
                      <a:cubicBezTo>
                        <a:pt x="577706" y="172532"/>
                        <a:pt x="569700" y="180904"/>
                        <a:pt x="560939" y="182503"/>
                      </a:cubicBezTo>
                      <a:cubicBezTo>
                        <a:pt x="554628" y="199529"/>
                        <a:pt x="543796" y="214016"/>
                        <a:pt x="531927" y="223799"/>
                      </a:cubicBezTo>
                      <a:cubicBezTo>
                        <a:pt x="528913" y="226338"/>
                        <a:pt x="527500" y="230383"/>
                        <a:pt x="528253" y="234240"/>
                      </a:cubicBezTo>
                      <a:lnTo>
                        <a:pt x="530797" y="246281"/>
                      </a:lnTo>
                      <a:cubicBezTo>
                        <a:pt x="532304" y="253806"/>
                        <a:pt x="538238" y="259732"/>
                        <a:pt x="545868" y="261143"/>
                      </a:cubicBezTo>
                      <a:lnTo>
                        <a:pt x="558961" y="263777"/>
                      </a:lnTo>
                      <a:cubicBezTo>
                        <a:pt x="578366" y="267634"/>
                        <a:pt x="593437" y="282684"/>
                        <a:pt x="597299" y="301968"/>
                      </a:cubicBezTo>
                      <a:lnTo>
                        <a:pt x="607002" y="350788"/>
                      </a:lnTo>
                      <a:cubicBezTo>
                        <a:pt x="608697" y="358972"/>
                        <a:pt x="606531" y="367438"/>
                        <a:pt x="601256" y="373835"/>
                      </a:cubicBezTo>
                      <a:cubicBezTo>
                        <a:pt x="595981" y="380325"/>
                        <a:pt x="588068" y="384088"/>
                        <a:pt x="579685" y="384088"/>
                      </a:cubicBezTo>
                      <a:lnTo>
                        <a:pt x="490386" y="384088"/>
                      </a:lnTo>
                      <a:lnTo>
                        <a:pt x="467685" y="310058"/>
                      </a:lnTo>
                      <a:cubicBezTo>
                        <a:pt x="461845" y="291150"/>
                        <a:pt x="448563" y="276194"/>
                        <a:pt x="431702" y="267445"/>
                      </a:cubicBezTo>
                      <a:cubicBezTo>
                        <a:pt x="434999" y="265940"/>
                        <a:pt x="438295" y="264529"/>
                        <a:pt x="441969" y="263777"/>
                      </a:cubicBezTo>
                      <a:lnTo>
                        <a:pt x="455157" y="261237"/>
                      </a:lnTo>
                      <a:cubicBezTo>
                        <a:pt x="462692" y="259732"/>
                        <a:pt x="468627" y="253806"/>
                        <a:pt x="470228" y="246281"/>
                      </a:cubicBezTo>
                      <a:lnTo>
                        <a:pt x="472677" y="234240"/>
                      </a:lnTo>
                      <a:cubicBezTo>
                        <a:pt x="473525" y="230383"/>
                        <a:pt x="472112" y="226338"/>
                        <a:pt x="469098" y="223893"/>
                      </a:cubicBezTo>
                      <a:cubicBezTo>
                        <a:pt x="457229" y="214016"/>
                        <a:pt x="446302" y="199529"/>
                        <a:pt x="439991" y="182503"/>
                      </a:cubicBezTo>
                      <a:cubicBezTo>
                        <a:pt x="434716" y="181563"/>
                        <a:pt x="429818" y="177894"/>
                        <a:pt x="426144" y="172720"/>
                      </a:cubicBezTo>
                      <a:cubicBezTo>
                        <a:pt x="433303" y="164725"/>
                        <a:pt x="438861" y="154754"/>
                        <a:pt x="441404" y="143278"/>
                      </a:cubicBezTo>
                      <a:cubicBezTo>
                        <a:pt x="444324" y="130485"/>
                        <a:pt x="443476" y="118068"/>
                        <a:pt x="439708" y="107438"/>
                      </a:cubicBezTo>
                      <a:cubicBezTo>
                        <a:pt x="447244" y="82699"/>
                        <a:pt x="464200" y="66049"/>
                        <a:pt x="500465" y="66049"/>
                      </a:cubicBezTo>
                      <a:close/>
                      <a:moveTo>
                        <a:pt x="107100" y="66049"/>
                      </a:moveTo>
                      <a:cubicBezTo>
                        <a:pt x="151561" y="66049"/>
                        <a:pt x="166820" y="90130"/>
                        <a:pt x="171341" y="123618"/>
                      </a:cubicBezTo>
                      <a:cubicBezTo>
                        <a:pt x="170965" y="129920"/>
                        <a:pt x="171436" y="136505"/>
                        <a:pt x="172849" y="143278"/>
                      </a:cubicBezTo>
                      <a:cubicBezTo>
                        <a:pt x="174921" y="152590"/>
                        <a:pt x="178971" y="161056"/>
                        <a:pt x="184246" y="168205"/>
                      </a:cubicBezTo>
                      <a:cubicBezTo>
                        <a:pt x="180573" y="175919"/>
                        <a:pt x="174356" y="181281"/>
                        <a:pt x="167574" y="182503"/>
                      </a:cubicBezTo>
                      <a:cubicBezTo>
                        <a:pt x="161263" y="199529"/>
                        <a:pt x="150336" y="214016"/>
                        <a:pt x="138468" y="223799"/>
                      </a:cubicBezTo>
                      <a:cubicBezTo>
                        <a:pt x="135453" y="226338"/>
                        <a:pt x="134040" y="230383"/>
                        <a:pt x="134794" y="234240"/>
                      </a:cubicBezTo>
                      <a:lnTo>
                        <a:pt x="137337" y="246281"/>
                      </a:lnTo>
                      <a:cubicBezTo>
                        <a:pt x="138939" y="253806"/>
                        <a:pt x="144873" y="259732"/>
                        <a:pt x="152408" y="261143"/>
                      </a:cubicBezTo>
                      <a:lnTo>
                        <a:pt x="165596" y="263777"/>
                      </a:lnTo>
                      <a:cubicBezTo>
                        <a:pt x="170494" y="264812"/>
                        <a:pt x="175203" y="266505"/>
                        <a:pt x="179442" y="268856"/>
                      </a:cubicBezTo>
                      <a:cubicBezTo>
                        <a:pt x="164088" y="277793"/>
                        <a:pt x="152126" y="292279"/>
                        <a:pt x="146662" y="310058"/>
                      </a:cubicBezTo>
                      <a:lnTo>
                        <a:pt x="123867" y="384088"/>
                      </a:lnTo>
                      <a:lnTo>
                        <a:pt x="27883" y="384088"/>
                      </a:lnTo>
                      <a:cubicBezTo>
                        <a:pt x="19499" y="384088"/>
                        <a:pt x="11587" y="380325"/>
                        <a:pt x="6312" y="373835"/>
                      </a:cubicBezTo>
                      <a:cubicBezTo>
                        <a:pt x="1037" y="367438"/>
                        <a:pt x="-1129" y="358972"/>
                        <a:pt x="566" y="350788"/>
                      </a:cubicBezTo>
                      <a:lnTo>
                        <a:pt x="10268" y="301968"/>
                      </a:lnTo>
                      <a:cubicBezTo>
                        <a:pt x="14130" y="282684"/>
                        <a:pt x="29202" y="267634"/>
                        <a:pt x="48606" y="263777"/>
                      </a:cubicBezTo>
                      <a:lnTo>
                        <a:pt x="61699" y="261237"/>
                      </a:lnTo>
                      <a:cubicBezTo>
                        <a:pt x="69328" y="259732"/>
                        <a:pt x="75263" y="253806"/>
                        <a:pt x="76770" y="246281"/>
                      </a:cubicBezTo>
                      <a:lnTo>
                        <a:pt x="79313" y="234240"/>
                      </a:lnTo>
                      <a:cubicBezTo>
                        <a:pt x="80067" y="230383"/>
                        <a:pt x="78654" y="226338"/>
                        <a:pt x="75639" y="223893"/>
                      </a:cubicBezTo>
                      <a:cubicBezTo>
                        <a:pt x="63771" y="214016"/>
                        <a:pt x="52939" y="199623"/>
                        <a:pt x="46628" y="182503"/>
                      </a:cubicBezTo>
                      <a:cubicBezTo>
                        <a:pt x="37867" y="180904"/>
                        <a:pt x="29861" y="172532"/>
                        <a:pt x="27318" y="160962"/>
                      </a:cubicBezTo>
                      <a:cubicBezTo>
                        <a:pt x="24115" y="146664"/>
                        <a:pt x="30426" y="133118"/>
                        <a:pt x="41447" y="130673"/>
                      </a:cubicBezTo>
                      <a:cubicBezTo>
                        <a:pt x="41541" y="130673"/>
                        <a:pt x="41729" y="130673"/>
                        <a:pt x="41824" y="130673"/>
                      </a:cubicBezTo>
                      <a:cubicBezTo>
                        <a:pt x="45403" y="93516"/>
                        <a:pt x="60192" y="66049"/>
                        <a:pt x="107100" y="66049"/>
                      </a:cubicBezTo>
                      <a:close/>
                      <a:moveTo>
                        <a:pt x="298626" y="0"/>
                      </a:moveTo>
                      <a:lnTo>
                        <a:pt x="315956" y="0"/>
                      </a:lnTo>
                      <a:cubicBezTo>
                        <a:pt x="363426" y="0"/>
                        <a:pt x="401854" y="38378"/>
                        <a:pt x="401854" y="85787"/>
                      </a:cubicBezTo>
                      <a:lnTo>
                        <a:pt x="401854" y="95476"/>
                      </a:lnTo>
                      <a:cubicBezTo>
                        <a:pt x="417301" y="99238"/>
                        <a:pt x="426154" y="118522"/>
                        <a:pt x="421633" y="138840"/>
                      </a:cubicBezTo>
                      <a:cubicBezTo>
                        <a:pt x="420880" y="142602"/>
                        <a:pt x="419467" y="146083"/>
                        <a:pt x="417960" y="149281"/>
                      </a:cubicBezTo>
                      <a:cubicBezTo>
                        <a:pt x="417677" y="149939"/>
                        <a:pt x="417395" y="150504"/>
                        <a:pt x="417112" y="151068"/>
                      </a:cubicBezTo>
                      <a:cubicBezTo>
                        <a:pt x="415417" y="154172"/>
                        <a:pt x="413533" y="157088"/>
                        <a:pt x="411273" y="159534"/>
                      </a:cubicBezTo>
                      <a:cubicBezTo>
                        <a:pt x="411179" y="159628"/>
                        <a:pt x="410990" y="159816"/>
                        <a:pt x="410896" y="159910"/>
                      </a:cubicBezTo>
                      <a:cubicBezTo>
                        <a:pt x="406092" y="165084"/>
                        <a:pt x="400159" y="168658"/>
                        <a:pt x="394037" y="169787"/>
                      </a:cubicBezTo>
                      <a:cubicBezTo>
                        <a:pt x="391494" y="176654"/>
                        <a:pt x="388385" y="183332"/>
                        <a:pt x="384900" y="189541"/>
                      </a:cubicBezTo>
                      <a:cubicBezTo>
                        <a:pt x="384806" y="189635"/>
                        <a:pt x="384806" y="189729"/>
                        <a:pt x="384712" y="189823"/>
                      </a:cubicBezTo>
                      <a:cubicBezTo>
                        <a:pt x="381227" y="196031"/>
                        <a:pt x="377460" y="201769"/>
                        <a:pt x="373316" y="207131"/>
                      </a:cubicBezTo>
                      <a:cubicBezTo>
                        <a:pt x="373127" y="207413"/>
                        <a:pt x="372939" y="207601"/>
                        <a:pt x="372750" y="207789"/>
                      </a:cubicBezTo>
                      <a:cubicBezTo>
                        <a:pt x="368700" y="213057"/>
                        <a:pt x="364368" y="217948"/>
                        <a:pt x="359847" y="222275"/>
                      </a:cubicBezTo>
                      <a:cubicBezTo>
                        <a:pt x="359658" y="222463"/>
                        <a:pt x="359376" y="222651"/>
                        <a:pt x="359188" y="222934"/>
                      </a:cubicBezTo>
                      <a:cubicBezTo>
                        <a:pt x="354667" y="227261"/>
                        <a:pt x="349957" y="231211"/>
                        <a:pt x="345154" y="234598"/>
                      </a:cubicBezTo>
                      <a:lnTo>
                        <a:pt x="345625" y="236855"/>
                      </a:lnTo>
                      <a:cubicBezTo>
                        <a:pt x="346567" y="236385"/>
                        <a:pt x="347603" y="235915"/>
                        <a:pt x="348639" y="235538"/>
                      </a:cubicBezTo>
                      <a:cubicBezTo>
                        <a:pt x="350899" y="234786"/>
                        <a:pt x="353065" y="234033"/>
                        <a:pt x="355514" y="234033"/>
                      </a:cubicBezTo>
                      <a:cubicBezTo>
                        <a:pt x="359470" y="234033"/>
                        <a:pt x="363238" y="235162"/>
                        <a:pt x="366628" y="237326"/>
                      </a:cubicBezTo>
                      <a:cubicBezTo>
                        <a:pt x="366628" y="237326"/>
                        <a:pt x="380756" y="246450"/>
                        <a:pt x="385371" y="249648"/>
                      </a:cubicBezTo>
                      <a:cubicBezTo>
                        <a:pt x="401854" y="261030"/>
                        <a:pt x="399876" y="279373"/>
                        <a:pt x="399876" y="279373"/>
                      </a:cubicBezTo>
                      <a:cubicBezTo>
                        <a:pt x="410990" y="279655"/>
                        <a:pt x="421822" y="283041"/>
                        <a:pt x="430016" y="289814"/>
                      </a:cubicBezTo>
                      <a:cubicBezTo>
                        <a:pt x="445180" y="302324"/>
                        <a:pt x="447535" y="313330"/>
                        <a:pt x="448382" y="316058"/>
                      </a:cubicBezTo>
                      <a:lnTo>
                        <a:pt x="481630" y="424515"/>
                      </a:lnTo>
                      <a:cubicBezTo>
                        <a:pt x="482855" y="428371"/>
                        <a:pt x="483608" y="432416"/>
                        <a:pt x="483891" y="436461"/>
                      </a:cubicBezTo>
                      <a:cubicBezTo>
                        <a:pt x="484644" y="448595"/>
                        <a:pt x="481159" y="460730"/>
                        <a:pt x="473718" y="470700"/>
                      </a:cubicBezTo>
                      <a:cubicBezTo>
                        <a:pt x="466372" y="480671"/>
                        <a:pt x="455823" y="487538"/>
                        <a:pt x="443956" y="490360"/>
                      </a:cubicBezTo>
                      <a:cubicBezTo>
                        <a:pt x="440000" y="491301"/>
                        <a:pt x="435950" y="491771"/>
                        <a:pt x="431805" y="491771"/>
                      </a:cubicBezTo>
                      <a:lnTo>
                        <a:pt x="325375" y="491771"/>
                      </a:lnTo>
                      <a:lnTo>
                        <a:pt x="337430" y="415296"/>
                      </a:lnTo>
                      <a:cubicBezTo>
                        <a:pt x="338749" y="406454"/>
                        <a:pt x="337807" y="397424"/>
                        <a:pt x="334605" y="389052"/>
                      </a:cubicBezTo>
                      <a:lnTo>
                        <a:pt x="323962" y="360927"/>
                      </a:lnTo>
                      <a:lnTo>
                        <a:pt x="337430" y="347476"/>
                      </a:lnTo>
                      <a:lnTo>
                        <a:pt x="307196" y="317281"/>
                      </a:lnTo>
                      <a:lnTo>
                        <a:pt x="276868" y="347476"/>
                      </a:lnTo>
                      <a:lnTo>
                        <a:pt x="290337" y="360927"/>
                      </a:lnTo>
                      <a:lnTo>
                        <a:pt x="279694" y="389052"/>
                      </a:lnTo>
                      <a:cubicBezTo>
                        <a:pt x="276586" y="397424"/>
                        <a:pt x="275644" y="406454"/>
                        <a:pt x="276963" y="415296"/>
                      </a:cubicBezTo>
                      <a:lnTo>
                        <a:pt x="288736" y="491771"/>
                      </a:lnTo>
                      <a:lnTo>
                        <a:pt x="182493" y="491771"/>
                      </a:lnTo>
                      <a:cubicBezTo>
                        <a:pt x="178443" y="491771"/>
                        <a:pt x="174299" y="491301"/>
                        <a:pt x="170437" y="490360"/>
                      </a:cubicBezTo>
                      <a:cubicBezTo>
                        <a:pt x="158570" y="487538"/>
                        <a:pt x="148021" y="480671"/>
                        <a:pt x="140675" y="470700"/>
                      </a:cubicBezTo>
                      <a:cubicBezTo>
                        <a:pt x="130785" y="457343"/>
                        <a:pt x="127865" y="440223"/>
                        <a:pt x="132669" y="424515"/>
                      </a:cubicBezTo>
                      <a:lnTo>
                        <a:pt x="166011" y="316058"/>
                      </a:lnTo>
                      <a:cubicBezTo>
                        <a:pt x="166858" y="313330"/>
                        <a:pt x="170908" y="300631"/>
                        <a:pt x="184377" y="289814"/>
                      </a:cubicBezTo>
                      <a:cubicBezTo>
                        <a:pt x="192666" y="283229"/>
                        <a:pt x="203403" y="279655"/>
                        <a:pt x="214517" y="279373"/>
                      </a:cubicBezTo>
                      <a:lnTo>
                        <a:pt x="214517" y="279279"/>
                      </a:lnTo>
                      <a:cubicBezTo>
                        <a:pt x="214140" y="273447"/>
                        <a:pt x="211880" y="260654"/>
                        <a:pt x="229022" y="249648"/>
                      </a:cubicBezTo>
                      <a:cubicBezTo>
                        <a:pt x="233731" y="246638"/>
                        <a:pt x="247765" y="237326"/>
                        <a:pt x="247765" y="237326"/>
                      </a:cubicBezTo>
                      <a:cubicBezTo>
                        <a:pt x="251061" y="235162"/>
                        <a:pt x="254923" y="234033"/>
                        <a:pt x="258879" y="234033"/>
                      </a:cubicBezTo>
                      <a:cubicBezTo>
                        <a:pt x="261328" y="234033"/>
                        <a:pt x="263494" y="234786"/>
                        <a:pt x="265754" y="235538"/>
                      </a:cubicBezTo>
                      <a:cubicBezTo>
                        <a:pt x="266790" y="236009"/>
                        <a:pt x="267826" y="236385"/>
                        <a:pt x="268768" y="236855"/>
                      </a:cubicBezTo>
                      <a:lnTo>
                        <a:pt x="269239" y="234598"/>
                      </a:lnTo>
                      <a:cubicBezTo>
                        <a:pt x="264436" y="231211"/>
                        <a:pt x="259726" y="227261"/>
                        <a:pt x="255205" y="222934"/>
                      </a:cubicBezTo>
                      <a:cubicBezTo>
                        <a:pt x="254923" y="222651"/>
                        <a:pt x="254735" y="222463"/>
                        <a:pt x="254546" y="222275"/>
                      </a:cubicBezTo>
                      <a:cubicBezTo>
                        <a:pt x="250025" y="217948"/>
                        <a:pt x="245693" y="213057"/>
                        <a:pt x="241548" y="207789"/>
                      </a:cubicBezTo>
                      <a:cubicBezTo>
                        <a:pt x="241454" y="207601"/>
                        <a:pt x="241266" y="207413"/>
                        <a:pt x="241077" y="207225"/>
                      </a:cubicBezTo>
                      <a:cubicBezTo>
                        <a:pt x="236933" y="201769"/>
                        <a:pt x="233072" y="196031"/>
                        <a:pt x="229681" y="189823"/>
                      </a:cubicBezTo>
                      <a:cubicBezTo>
                        <a:pt x="229587" y="189729"/>
                        <a:pt x="229587" y="189635"/>
                        <a:pt x="229493" y="189635"/>
                      </a:cubicBezTo>
                      <a:cubicBezTo>
                        <a:pt x="226008" y="183332"/>
                        <a:pt x="222899" y="176654"/>
                        <a:pt x="220356" y="169787"/>
                      </a:cubicBezTo>
                      <a:cubicBezTo>
                        <a:pt x="214140" y="168658"/>
                        <a:pt x="208301" y="165084"/>
                        <a:pt x="203497" y="159910"/>
                      </a:cubicBezTo>
                      <a:cubicBezTo>
                        <a:pt x="203309" y="159722"/>
                        <a:pt x="203214" y="159628"/>
                        <a:pt x="203120" y="159534"/>
                      </a:cubicBezTo>
                      <a:cubicBezTo>
                        <a:pt x="200860" y="157088"/>
                        <a:pt x="198976" y="154172"/>
                        <a:pt x="197281" y="151068"/>
                      </a:cubicBezTo>
                      <a:cubicBezTo>
                        <a:pt x="196998" y="150504"/>
                        <a:pt x="196716" y="149939"/>
                        <a:pt x="196433" y="149281"/>
                      </a:cubicBezTo>
                      <a:cubicBezTo>
                        <a:pt x="194832" y="146083"/>
                        <a:pt x="193513" y="142602"/>
                        <a:pt x="192666" y="138840"/>
                      </a:cubicBezTo>
                      <a:cubicBezTo>
                        <a:pt x="188145" y="118428"/>
                        <a:pt x="197092" y="99050"/>
                        <a:pt x="212727" y="95476"/>
                      </a:cubicBezTo>
                      <a:lnTo>
                        <a:pt x="212727" y="85787"/>
                      </a:lnTo>
                      <a:cubicBezTo>
                        <a:pt x="212727" y="38378"/>
                        <a:pt x="251155" y="0"/>
                        <a:pt x="298626" y="0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 fontScale="92500" lnSpcReduction="20000"/>
                </a:bodyPr>
                <a:lstStyle/>
                <a:p>
                  <a:endParaRPr lang="zh-CN" altLang="en-US" dirty="0">
                    <a:solidFill>
                      <a:schemeClr val="bg1"/>
                    </a:solidFill>
                    <a:ea typeface="阿里巴巴普惠体" panose="00020600040101010101" pitchFamily="18" charset="-122"/>
                  </a:endParaRPr>
                </a:p>
              </p:txBody>
            </p:sp>
          </p:grpSp>
          <p:grpSp>
            <p:nvGrpSpPr>
              <p:cNvPr id="33" name="ïṥľïďé"/>
              <p:cNvGrpSpPr/>
              <p:nvPr/>
            </p:nvGrpSpPr>
            <p:grpSpPr>
              <a:xfrm>
                <a:off x="1837056" y="2006031"/>
                <a:ext cx="4056382" cy="1153949"/>
                <a:chOff x="1837056" y="3738481"/>
                <a:chExt cx="4056382" cy="1153949"/>
              </a:xfrm>
            </p:grpSpPr>
            <p:sp>
              <p:nvSpPr>
                <p:cNvPr id="34" name="íṣliḓé"/>
                <p:cNvSpPr/>
                <p:nvPr/>
              </p:nvSpPr>
              <p:spPr bwMode="auto">
                <a:xfrm>
                  <a:off x="1837057" y="4180286"/>
                  <a:ext cx="4056380" cy="7121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zh-CN" altLang="en-US" sz="1100" dirty="0">
                      <a:solidFill>
                        <a:schemeClr val="bg1"/>
                      </a:solidFill>
                      <a:latin typeface="阿里巴巴普惠体" panose="00020600040101010101" pitchFamily="18" charset="-122"/>
                      <a:ea typeface="阿里巴巴普惠体" panose="00020600040101010101" pitchFamily="18" charset="-122"/>
                      <a:cs typeface="阿里巴巴普惠体" panose="00020600040101010101" pitchFamily="18" charset="-122"/>
                    </a:rPr>
                    <a:t>点击输入您的内容，或者通过复制您的文本后，在此框中选择复制粘贴，请言简意赅，简单说明即可，不必繁琐。</a:t>
                  </a:r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100" dirty="0">
                    <a:solidFill>
                      <a:schemeClr val="bg1"/>
                    </a:solidFill>
                    <a:ea typeface="阿里巴巴普惠体" panose="00020600040101010101" pitchFamily="18" charset="-122"/>
                  </a:endParaRPr>
                </a:p>
              </p:txBody>
            </p:sp>
            <p:sp>
              <p:nvSpPr>
                <p:cNvPr id="35" name="iš1ïḑé"/>
                <p:cNvSpPr txBox="1"/>
                <p:nvPr/>
              </p:nvSpPr>
              <p:spPr bwMode="auto">
                <a:xfrm>
                  <a:off x="1837056" y="3738481"/>
                  <a:ext cx="4056382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3765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zh-CN" altLang="en-US" sz="2000" b="1" dirty="0">
                      <a:solidFill>
                        <a:schemeClr val="bg1"/>
                      </a:solidFill>
                      <a:ea typeface="阿里巴巴普惠体" panose="00020600040101010101" pitchFamily="18" charset="-122"/>
                    </a:rPr>
                    <a:t>添加文本内容</a:t>
                  </a:r>
                  <a:endParaRPr lang="en-US" altLang="zh-CN" sz="2000" b="1" dirty="0">
                    <a:solidFill>
                      <a:schemeClr val="bg1"/>
                    </a:solidFill>
                    <a:ea typeface="阿里巴巴普惠体" panose="00020600040101010101" pitchFamily="18" charset="-122"/>
                  </a:endParaRPr>
                </a:p>
              </p:txBody>
            </p:sp>
          </p:grpSp>
        </p:grpSp>
        <p:grpSp>
          <p:nvGrpSpPr>
            <p:cNvPr id="12" name="îśḻíďè"/>
            <p:cNvGrpSpPr/>
            <p:nvPr/>
          </p:nvGrpSpPr>
          <p:grpSpPr>
            <a:xfrm>
              <a:off x="1837056" y="4925464"/>
              <a:ext cx="4056382" cy="1153949"/>
              <a:chOff x="1837056" y="5001834"/>
              <a:chExt cx="4056382" cy="1153949"/>
            </a:xfrm>
          </p:grpSpPr>
          <p:sp>
            <p:nvSpPr>
              <p:cNvPr id="30" name="iṥļíḍê"/>
              <p:cNvSpPr/>
              <p:nvPr/>
            </p:nvSpPr>
            <p:spPr bwMode="auto">
              <a:xfrm>
                <a:off x="1837057" y="5443639"/>
                <a:ext cx="4056380" cy="7121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31" name="îṩḷîḍe"/>
              <p:cNvSpPr txBox="1"/>
              <p:nvPr/>
            </p:nvSpPr>
            <p:spPr bwMode="auto">
              <a:xfrm>
                <a:off x="1837056" y="5001834"/>
                <a:ext cx="405638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文本内容</a:t>
                </a:r>
                <a:endParaRPr lang="en-US" altLang="zh-CN" sz="2000" b="1"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3" name="i$ḷídê"/>
            <p:cNvGrpSpPr/>
            <p:nvPr/>
          </p:nvGrpSpPr>
          <p:grpSpPr>
            <a:xfrm>
              <a:off x="751205" y="5140488"/>
              <a:ext cx="723900" cy="723900"/>
              <a:chOff x="751205" y="5140488"/>
              <a:chExt cx="723900" cy="723900"/>
            </a:xfrm>
          </p:grpSpPr>
          <p:sp>
            <p:nvSpPr>
              <p:cNvPr id="28" name="îṡlîďé"/>
              <p:cNvSpPr/>
              <p:nvPr/>
            </p:nvSpPr>
            <p:spPr>
              <a:xfrm>
                <a:off x="751205" y="5140488"/>
                <a:ext cx="723900" cy="7239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zh-CN" altLang="en-US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9" name="íšļïḍè"/>
              <p:cNvSpPr/>
              <p:nvPr/>
            </p:nvSpPr>
            <p:spPr bwMode="auto">
              <a:xfrm>
                <a:off x="903928" y="5301157"/>
                <a:ext cx="418454" cy="402562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 dirty="0">
                  <a:ea typeface="阿里巴巴普惠体" panose="00020600040101010101" pitchFamily="18" charset="-122"/>
                </a:endParaRPr>
              </a:p>
            </p:txBody>
          </p:sp>
        </p:grpSp>
        <p:cxnSp>
          <p:nvCxnSpPr>
            <p:cNvPr id="14" name="直接连接符 13"/>
            <p:cNvCxnSpPr/>
            <p:nvPr/>
          </p:nvCxnSpPr>
          <p:spPr>
            <a:xfrm>
              <a:off x="1943012" y="4868020"/>
              <a:ext cx="356370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ïṣļíďé"/>
            <p:cNvGrpSpPr/>
            <p:nvPr/>
          </p:nvGrpSpPr>
          <p:grpSpPr>
            <a:xfrm>
              <a:off x="8829041" y="3697266"/>
              <a:ext cx="2691447" cy="1118794"/>
              <a:chOff x="8829041" y="3738481"/>
              <a:chExt cx="2691447" cy="1118794"/>
            </a:xfrm>
          </p:grpSpPr>
          <p:sp>
            <p:nvSpPr>
              <p:cNvPr id="26" name="íṡ1íḓê"/>
              <p:cNvSpPr txBox="1"/>
              <p:nvPr/>
            </p:nvSpPr>
            <p:spPr>
              <a:xfrm>
                <a:off x="8829042" y="4131870"/>
                <a:ext cx="2691446" cy="7254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27" name="îṡḻîḋe"/>
              <p:cNvSpPr txBox="1"/>
              <p:nvPr/>
            </p:nvSpPr>
            <p:spPr>
              <a:xfrm>
                <a:off x="8829041" y="3738481"/>
                <a:ext cx="2691447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r>
                  <a:rPr lang="en-US" altLang="zh-CN" b="1" dirty="0">
                    <a:ea typeface="阿里巴巴普惠体" panose="00020600040101010101" pitchFamily="18" charset="-122"/>
                  </a:rPr>
                  <a:t>02.</a:t>
                </a:r>
                <a:r>
                  <a:rPr lang="zh-CN" altLang="en-US" b="1" dirty="0">
                    <a:ea typeface="阿里巴巴普惠体" panose="00020600040101010101" pitchFamily="18" charset="-122"/>
                  </a:rPr>
                  <a:t>添加文本内容</a:t>
                </a:r>
              </a:p>
            </p:txBody>
          </p:sp>
        </p:grpSp>
        <p:grpSp>
          <p:nvGrpSpPr>
            <p:cNvPr id="16" name="iSľîďe"/>
            <p:cNvGrpSpPr/>
            <p:nvPr/>
          </p:nvGrpSpPr>
          <p:grpSpPr>
            <a:xfrm>
              <a:off x="8829041" y="4960619"/>
              <a:ext cx="2691447" cy="1118794"/>
              <a:chOff x="8829041" y="4821964"/>
              <a:chExt cx="2691447" cy="1118794"/>
            </a:xfrm>
          </p:grpSpPr>
          <p:sp>
            <p:nvSpPr>
              <p:cNvPr id="24" name="îṩḻîdè"/>
              <p:cNvSpPr txBox="1"/>
              <p:nvPr/>
            </p:nvSpPr>
            <p:spPr>
              <a:xfrm>
                <a:off x="8829042" y="5215353"/>
                <a:ext cx="2691446" cy="7254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 fontScale="92500" lnSpcReduction="10000"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</p:txBody>
          </p:sp>
          <p:sp>
            <p:nvSpPr>
              <p:cNvPr id="25" name="išliḍè"/>
              <p:cNvSpPr txBox="1"/>
              <p:nvPr/>
            </p:nvSpPr>
            <p:spPr>
              <a:xfrm>
                <a:off x="8829041" y="4821964"/>
                <a:ext cx="2691447" cy="39338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/>
              <a:p>
                <a:r>
                  <a:rPr lang="en-US" altLang="zh-CN" b="1" dirty="0">
                    <a:ea typeface="阿里巴巴普惠体" panose="00020600040101010101" pitchFamily="18" charset="-122"/>
                  </a:rPr>
                  <a:t>03.</a:t>
                </a:r>
                <a:r>
                  <a:rPr lang="zh-CN" altLang="en-US" b="1" dirty="0">
                    <a:ea typeface="阿里巴巴普惠体" panose="00020600040101010101" pitchFamily="18" charset="-122"/>
                  </a:rPr>
                  <a:t>添加文本内容</a:t>
                </a:r>
              </a:p>
            </p:txBody>
          </p:sp>
        </p:grpSp>
        <p:cxnSp>
          <p:nvCxnSpPr>
            <p:cNvPr id="17" name="直接连接符 16"/>
            <p:cNvCxnSpPr/>
            <p:nvPr/>
          </p:nvCxnSpPr>
          <p:spPr>
            <a:xfrm>
              <a:off x="8920480" y="4868020"/>
              <a:ext cx="260000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işľidè"/>
            <p:cNvGrpSpPr/>
            <p:nvPr/>
          </p:nvGrpSpPr>
          <p:grpSpPr>
            <a:xfrm>
              <a:off x="1837056" y="3662111"/>
              <a:ext cx="4056382" cy="1153949"/>
              <a:chOff x="1837056" y="3662111"/>
              <a:chExt cx="4056382" cy="1153949"/>
            </a:xfrm>
          </p:grpSpPr>
          <p:sp>
            <p:nvSpPr>
              <p:cNvPr id="22" name="íṣḻîḑé"/>
              <p:cNvSpPr/>
              <p:nvPr/>
            </p:nvSpPr>
            <p:spPr bwMode="auto">
              <a:xfrm>
                <a:off x="1837057" y="4103916"/>
                <a:ext cx="4056380" cy="7121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zh-CN" altLang="en-US" sz="1100" dirty="0">
                    <a:latin typeface="阿里巴巴普惠体" panose="00020600040101010101" pitchFamily="18" charset="-122"/>
                    <a:ea typeface="阿里巴巴普惠体" panose="00020600040101010101" pitchFamily="18" charset="-122"/>
                    <a:cs typeface="阿里巴巴普惠体" panose="00020600040101010101" pitchFamily="18" charset="-122"/>
                  </a:rPr>
                  <a:t>点击输入您的内容，或者通过复制您的文本后，在此框中选择复制粘贴，请言简意赅，简单说明即可，不必繁琐。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3" name="ïś1ide"/>
              <p:cNvSpPr txBox="1"/>
              <p:nvPr/>
            </p:nvSpPr>
            <p:spPr bwMode="auto">
              <a:xfrm>
                <a:off x="1837056" y="3662111"/>
                <a:ext cx="405638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zh-CN" altLang="en-US" sz="2000" b="1" dirty="0">
                    <a:ea typeface="阿里巴巴普惠体" panose="00020600040101010101" pitchFamily="18" charset="-122"/>
                  </a:rPr>
                  <a:t>添加文本内容</a:t>
                </a:r>
                <a:endParaRPr lang="en-US" altLang="zh-CN" sz="2000" b="1" dirty="0">
                  <a:ea typeface="阿里巴巴普惠体" panose="00020600040101010101" pitchFamily="18" charset="-122"/>
                </a:endParaRPr>
              </a:p>
            </p:txBody>
          </p:sp>
        </p:grpSp>
        <p:grpSp>
          <p:nvGrpSpPr>
            <p:cNvPr id="19" name="iŝḷiḓè"/>
            <p:cNvGrpSpPr/>
            <p:nvPr/>
          </p:nvGrpSpPr>
          <p:grpSpPr>
            <a:xfrm>
              <a:off x="751205" y="3877135"/>
              <a:ext cx="723900" cy="723900"/>
              <a:chOff x="751205" y="3877135"/>
              <a:chExt cx="723900" cy="723900"/>
            </a:xfrm>
          </p:grpSpPr>
          <p:sp>
            <p:nvSpPr>
              <p:cNvPr id="20" name="ïṡḷïďê"/>
              <p:cNvSpPr/>
              <p:nvPr/>
            </p:nvSpPr>
            <p:spPr>
              <a:xfrm>
                <a:off x="751205" y="3877135"/>
                <a:ext cx="723900" cy="7239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zh-CN" altLang="en-US" dirty="0">
                  <a:ea typeface="阿里巴巴普惠体" panose="00020600040101010101" pitchFamily="18" charset="-122"/>
                </a:endParaRPr>
              </a:p>
            </p:txBody>
          </p:sp>
          <p:sp>
            <p:nvSpPr>
              <p:cNvPr id="21" name="iS1iďè"/>
              <p:cNvSpPr/>
              <p:nvPr/>
            </p:nvSpPr>
            <p:spPr bwMode="auto">
              <a:xfrm>
                <a:off x="912878" y="4046473"/>
                <a:ext cx="400554" cy="385224"/>
              </a:xfrm>
              <a:custGeom>
                <a:avLst/>
                <a:gdLst>
                  <a:gd name="connsiteX0" fmla="*/ 61288 w 609549"/>
                  <a:gd name="connsiteY0" fmla="*/ 383285 h 586216"/>
                  <a:gd name="connsiteX1" fmla="*/ 71162 w 609549"/>
                  <a:gd name="connsiteY1" fmla="*/ 387101 h 586216"/>
                  <a:gd name="connsiteX2" fmla="*/ 120018 w 609549"/>
                  <a:gd name="connsiteY2" fmla="*/ 435892 h 586216"/>
                  <a:gd name="connsiteX3" fmla="*/ 120018 w 609549"/>
                  <a:gd name="connsiteY3" fmla="*/ 454200 h 586216"/>
                  <a:gd name="connsiteX4" fmla="*/ 56639 w 609549"/>
                  <a:gd name="connsiteY4" fmla="*/ 517543 h 586216"/>
                  <a:gd name="connsiteX5" fmla="*/ 35592 w 609549"/>
                  <a:gd name="connsiteY5" fmla="*/ 513644 h 586216"/>
                  <a:gd name="connsiteX6" fmla="*/ 51877 w 609549"/>
                  <a:gd name="connsiteY6" fmla="*/ 388099 h 586216"/>
                  <a:gd name="connsiteX7" fmla="*/ 61288 w 609549"/>
                  <a:gd name="connsiteY7" fmla="*/ 383285 h 586216"/>
                  <a:gd name="connsiteX8" fmla="*/ 235245 w 609549"/>
                  <a:gd name="connsiteY8" fmla="*/ 302810 h 586216"/>
                  <a:gd name="connsiteX9" fmla="*/ 306042 w 609549"/>
                  <a:gd name="connsiteY9" fmla="*/ 373466 h 586216"/>
                  <a:gd name="connsiteX10" fmla="*/ 258717 w 609549"/>
                  <a:gd name="connsiteY10" fmla="*/ 420680 h 586216"/>
                  <a:gd name="connsiteX11" fmla="*/ 230246 w 609549"/>
                  <a:gd name="connsiteY11" fmla="*/ 550152 h 586216"/>
                  <a:gd name="connsiteX12" fmla="*/ 92223 w 609549"/>
                  <a:gd name="connsiteY12" fmla="*/ 575305 h 586216"/>
                  <a:gd name="connsiteX13" fmla="*/ 88748 w 609549"/>
                  <a:gd name="connsiteY13" fmla="*/ 556143 h 586216"/>
                  <a:gd name="connsiteX14" fmla="*/ 165115 w 609549"/>
                  <a:gd name="connsiteY14" fmla="*/ 479877 h 586216"/>
                  <a:gd name="connsiteX15" fmla="*/ 165115 w 609549"/>
                  <a:gd name="connsiteY15" fmla="*/ 446308 h 586216"/>
                  <a:gd name="connsiteX16" fmla="*/ 88700 w 609549"/>
                  <a:gd name="connsiteY16" fmla="*/ 369995 h 586216"/>
                  <a:gd name="connsiteX17" fmla="*/ 92128 w 609549"/>
                  <a:gd name="connsiteY17" fmla="*/ 350976 h 586216"/>
                  <a:gd name="connsiteX18" fmla="*/ 189111 w 609549"/>
                  <a:gd name="connsiteY18" fmla="*/ 348884 h 586216"/>
                  <a:gd name="connsiteX19" fmla="*/ 257958 w 609549"/>
                  <a:gd name="connsiteY19" fmla="*/ 161679 h 586216"/>
                  <a:gd name="connsiteX20" fmla="*/ 317251 w 609549"/>
                  <a:gd name="connsiteY20" fmla="*/ 220879 h 586216"/>
                  <a:gd name="connsiteX21" fmla="*/ 388070 w 609549"/>
                  <a:gd name="connsiteY21" fmla="*/ 291586 h 586216"/>
                  <a:gd name="connsiteX22" fmla="*/ 604906 w 609549"/>
                  <a:gd name="connsiteY22" fmla="*/ 508130 h 586216"/>
                  <a:gd name="connsiteX23" fmla="*/ 604906 w 609549"/>
                  <a:gd name="connsiteY23" fmla="*/ 530526 h 586216"/>
                  <a:gd name="connsiteX24" fmla="*/ 556567 w 609549"/>
                  <a:gd name="connsiteY24" fmla="*/ 578789 h 586216"/>
                  <a:gd name="connsiteX25" fmla="*/ 545327 w 609549"/>
                  <a:gd name="connsiteY25" fmla="*/ 583449 h 586216"/>
                  <a:gd name="connsiteX26" fmla="*/ 534135 w 609549"/>
                  <a:gd name="connsiteY26" fmla="*/ 578789 h 586216"/>
                  <a:gd name="connsiteX27" fmla="*/ 317251 w 609549"/>
                  <a:gd name="connsiteY27" fmla="*/ 362293 h 586216"/>
                  <a:gd name="connsiteX28" fmla="*/ 246481 w 609549"/>
                  <a:gd name="connsiteY28" fmla="*/ 291586 h 586216"/>
                  <a:gd name="connsiteX29" fmla="*/ 187140 w 609549"/>
                  <a:gd name="connsiteY29" fmla="*/ 232339 h 586216"/>
                  <a:gd name="connsiteX30" fmla="*/ 58606 w 609549"/>
                  <a:gd name="connsiteY30" fmla="*/ 160814 h 586216"/>
                  <a:gd name="connsiteX31" fmla="*/ 126401 w 609549"/>
                  <a:gd name="connsiteY31" fmla="*/ 228498 h 586216"/>
                  <a:gd name="connsiteX32" fmla="*/ 111975 w 609549"/>
                  <a:gd name="connsiteY32" fmla="*/ 242899 h 586216"/>
                  <a:gd name="connsiteX33" fmla="*/ 119307 w 609549"/>
                  <a:gd name="connsiteY33" fmla="*/ 250219 h 586216"/>
                  <a:gd name="connsiteX34" fmla="*/ 119307 w 609549"/>
                  <a:gd name="connsiteY34" fmla="*/ 277692 h 586216"/>
                  <a:gd name="connsiteX35" fmla="*/ 115641 w 609549"/>
                  <a:gd name="connsiteY35" fmla="*/ 281352 h 586216"/>
                  <a:gd name="connsiteX36" fmla="*/ 88123 w 609549"/>
                  <a:gd name="connsiteY36" fmla="*/ 281352 h 586216"/>
                  <a:gd name="connsiteX37" fmla="*/ 5712 w 609549"/>
                  <a:gd name="connsiteY37" fmla="*/ 199029 h 586216"/>
                  <a:gd name="connsiteX38" fmla="*/ 5712 w 609549"/>
                  <a:gd name="connsiteY38" fmla="*/ 171604 h 586216"/>
                  <a:gd name="connsiteX39" fmla="*/ 9378 w 609549"/>
                  <a:gd name="connsiteY39" fmla="*/ 167944 h 586216"/>
                  <a:gd name="connsiteX40" fmla="*/ 36849 w 609549"/>
                  <a:gd name="connsiteY40" fmla="*/ 167944 h 586216"/>
                  <a:gd name="connsiteX41" fmla="*/ 44180 w 609549"/>
                  <a:gd name="connsiteY41" fmla="*/ 175264 h 586216"/>
                  <a:gd name="connsiteX42" fmla="*/ 585775 w 609549"/>
                  <a:gd name="connsiteY42" fmla="*/ 66370 h 586216"/>
                  <a:gd name="connsiteX43" fmla="*/ 595263 w 609549"/>
                  <a:gd name="connsiteY43" fmla="*/ 73839 h 586216"/>
                  <a:gd name="connsiteX44" fmla="*/ 578978 w 609549"/>
                  <a:gd name="connsiteY44" fmla="*/ 199341 h 586216"/>
                  <a:gd name="connsiteX45" fmla="*/ 559693 w 609549"/>
                  <a:gd name="connsiteY45" fmla="*/ 200387 h 586216"/>
                  <a:gd name="connsiteX46" fmla="*/ 510789 w 609549"/>
                  <a:gd name="connsiteY46" fmla="*/ 151612 h 586216"/>
                  <a:gd name="connsiteX47" fmla="*/ 510789 w 609549"/>
                  <a:gd name="connsiteY47" fmla="*/ 133262 h 586216"/>
                  <a:gd name="connsiteX48" fmla="*/ 574216 w 609549"/>
                  <a:gd name="connsiteY48" fmla="*/ 69988 h 586216"/>
                  <a:gd name="connsiteX49" fmla="*/ 585775 w 609549"/>
                  <a:gd name="connsiteY49" fmla="*/ 66370 h 586216"/>
                  <a:gd name="connsiteX50" fmla="*/ 158702 w 609549"/>
                  <a:gd name="connsiteY50" fmla="*/ 26758 h 586216"/>
                  <a:gd name="connsiteX51" fmla="*/ 172463 w 609549"/>
                  <a:gd name="connsiteY51" fmla="*/ 32464 h 586216"/>
                  <a:gd name="connsiteX52" fmla="*/ 179701 w 609549"/>
                  <a:gd name="connsiteY52" fmla="*/ 39691 h 586216"/>
                  <a:gd name="connsiteX53" fmla="*/ 246935 w 609549"/>
                  <a:gd name="connsiteY53" fmla="*/ 106831 h 586216"/>
                  <a:gd name="connsiteX54" fmla="*/ 254886 w 609549"/>
                  <a:gd name="connsiteY54" fmla="*/ 114819 h 586216"/>
                  <a:gd name="connsiteX55" fmla="*/ 257600 w 609549"/>
                  <a:gd name="connsiteY55" fmla="*/ 138879 h 586216"/>
                  <a:gd name="connsiteX56" fmla="*/ 254886 w 609549"/>
                  <a:gd name="connsiteY56" fmla="*/ 142255 h 586216"/>
                  <a:gd name="connsiteX57" fmla="*/ 252315 w 609549"/>
                  <a:gd name="connsiteY57" fmla="*/ 144823 h 586216"/>
                  <a:gd name="connsiteX58" fmla="*/ 246696 w 609549"/>
                  <a:gd name="connsiteY58" fmla="*/ 150434 h 586216"/>
                  <a:gd name="connsiteX59" fmla="*/ 175892 w 609549"/>
                  <a:gd name="connsiteY59" fmla="*/ 221140 h 586216"/>
                  <a:gd name="connsiteX60" fmla="*/ 172463 w 609549"/>
                  <a:gd name="connsiteY60" fmla="*/ 224611 h 586216"/>
                  <a:gd name="connsiteX61" fmla="*/ 170130 w 609549"/>
                  <a:gd name="connsiteY61" fmla="*/ 226560 h 586216"/>
                  <a:gd name="connsiteX62" fmla="*/ 162274 w 609549"/>
                  <a:gd name="connsiteY62" fmla="*/ 229936 h 586216"/>
                  <a:gd name="connsiteX63" fmla="*/ 158702 w 609549"/>
                  <a:gd name="connsiteY63" fmla="*/ 230269 h 586216"/>
                  <a:gd name="connsiteX64" fmla="*/ 144942 w 609549"/>
                  <a:gd name="connsiteY64" fmla="*/ 224611 h 586216"/>
                  <a:gd name="connsiteX65" fmla="*/ 137609 w 609549"/>
                  <a:gd name="connsiteY65" fmla="*/ 217288 h 586216"/>
                  <a:gd name="connsiteX66" fmla="*/ 69804 w 609549"/>
                  <a:gd name="connsiteY66" fmla="*/ 149578 h 586216"/>
                  <a:gd name="connsiteX67" fmla="*/ 62519 w 609549"/>
                  <a:gd name="connsiteY67" fmla="*/ 142255 h 586216"/>
                  <a:gd name="connsiteX68" fmla="*/ 62519 w 609549"/>
                  <a:gd name="connsiteY68" fmla="*/ 114819 h 586216"/>
                  <a:gd name="connsiteX69" fmla="*/ 144942 w 609549"/>
                  <a:gd name="connsiteY69" fmla="*/ 32464 h 586216"/>
                  <a:gd name="connsiteX70" fmla="*/ 158702 w 609549"/>
                  <a:gd name="connsiteY70" fmla="*/ 26758 h 586216"/>
                  <a:gd name="connsiteX71" fmla="*/ 254809 w 609549"/>
                  <a:gd name="connsiteY71" fmla="*/ 6542 h 586216"/>
                  <a:gd name="connsiteX72" fmla="*/ 321015 w 609549"/>
                  <a:gd name="connsiteY72" fmla="*/ 29913 h 586216"/>
                  <a:gd name="connsiteX73" fmla="*/ 260017 w 609549"/>
                  <a:gd name="connsiteY73" fmla="*/ 97465 h 586216"/>
                  <a:gd name="connsiteX74" fmla="*/ 193067 w 609549"/>
                  <a:gd name="connsiteY74" fmla="*/ 30626 h 586216"/>
                  <a:gd name="connsiteX75" fmla="*/ 254809 w 609549"/>
                  <a:gd name="connsiteY75" fmla="*/ 6542 h 586216"/>
                  <a:gd name="connsiteX76" fmla="*/ 503105 w 609549"/>
                  <a:gd name="connsiteY76" fmla="*/ 953 h 586216"/>
                  <a:gd name="connsiteX77" fmla="*/ 538560 w 609549"/>
                  <a:gd name="connsiteY77" fmla="*/ 10911 h 586216"/>
                  <a:gd name="connsiteX78" fmla="*/ 542083 w 609549"/>
                  <a:gd name="connsiteY78" fmla="*/ 30073 h 586216"/>
                  <a:gd name="connsiteX79" fmla="*/ 465709 w 609549"/>
                  <a:gd name="connsiteY79" fmla="*/ 106341 h 586216"/>
                  <a:gd name="connsiteX80" fmla="*/ 465709 w 609549"/>
                  <a:gd name="connsiteY80" fmla="*/ 139911 h 586216"/>
                  <a:gd name="connsiteX81" fmla="*/ 542131 w 609549"/>
                  <a:gd name="connsiteY81" fmla="*/ 216227 h 586216"/>
                  <a:gd name="connsiteX82" fmla="*/ 538655 w 609549"/>
                  <a:gd name="connsiteY82" fmla="*/ 235246 h 586216"/>
                  <a:gd name="connsiteX83" fmla="*/ 442187 w 609549"/>
                  <a:gd name="connsiteY83" fmla="*/ 237528 h 586216"/>
                  <a:gd name="connsiteX84" fmla="*/ 399238 w 609549"/>
                  <a:gd name="connsiteY84" fmla="*/ 280370 h 586216"/>
                  <a:gd name="connsiteX85" fmla="*/ 328482 w 609549"/>
                  <a:gd name="connsiteY85" fmla="*/ 209712 h 586216"/>
                  <a:gd name="connsiteX86" fmla="*/ 372240 w 609549"/>
                  <a:gd name="connsiteY86" fmla="*/ 166015 h 586216"/>
                  <a:gd name="connsiteX87" fmla="*/ 400571 w 609549"/>
                  <a:gd name="connsiteY87" fmla="*/ 36064 h 586216"/>
                  <a:gd name="connsiteX88" fmla="*/ 503105 w 609549"/>
                  <a:gd name="connsiteY88" fmla="*/ 953 h 58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9549" h="586216">
                    <a:moveTo>
                      <a:pt x="61288" y="383285"/>
                    </a:moveTo>
                    <a:cubicBezTo>
                      <a:pt x="64829" y="383106"/>
                      <a:pt x="68448" y="384367"/>
                      <a:pt x="71162" y="387101"/>
                    </a:cubicBezTo>
                    <a:lnTo>
                      <a:pt x="120018" y="435892"/>
                    </a:lnTo>
                    <a:cubicBezTo>
                      <a:pt x="125113" y="440933"/>
                      <a:pt x="125113" y="449160"/>
                      <a:pt x="120018" y="454200"/>
                    </a:cubicBezTo>
                    <a:lnTo>
                      <a:pt x="56639" y="517543"/>
                    </a:lnTo>
                    <a:cubicBezTo>
                      <a:pt x="50211" y="523963"/>
                      <a:pt x="39211" y="522013"/>
                      <a:pt x="35592" y="513644"/>
                    </a:cubicBezTo>
                    <a:cubicBezTo>
                      <a:pt x="17783" y="472794"/>
                      <a:pt x="23211" y="424288"/>
                      <a:pt x="51877" y="388099"/>
                    </a:cubicBezTo>
                    <a:cubicBezTo>
                      <a:pt x="54282" y="385079"/>
                      <a:pt x="57746" y="383463"/>
                      <a:pt x="61288" y="383285"/>
                    </a:cubicBezTo>
                    <a:close/>
                    <a:moveTo>
                      <a:pt x="235245" y="302810"/>
                    </a:moveTo>
                    <a:lnTo>
                      <a:pt x="306042" y="373466"/>
                    </a:lnTo>
                    <a:lnTo>
                      <a:pt x="258717" y="420680"/>
                    </a:lnTo>
                    <a:cubicBezTo>
                      <a:pt x="274667" y="464329"/>
                      <a:pt x="265192" y="515300"/>
                      <a:pt x="230246" y="550152"/>
                    </a:cubicBezTo>
                    <a:cubicBezTo>
                      <a:pt x="192919" y="587430"/>
                      <a:pt x="137644" y="595798"/>
                      <a:pt x="92223" y="575305"/>
                    </a:cubicBezTo>
                    <a:cubicBezTo>
                      <a:pt x="84701" y="571882"/>
                      <a:pt x="82892" y="561992"/>
                      <a:pt x="88748" y="556143"/>
                    </a:cubicBezTo>
                    <a:lnTo>
                      <a:pt x="165115" y="479877"/>
                    </a:lnTo>
                    <a:cubicBezTo>
                      <a:pt x="174399" y="470605"/>
                      <a:pt x="174399" y="455580"/>
                      <a:pt x="165115" y="446308"/>
                    </a:cubicBezTo>
                    <a:lnTo>
                      <a:pt x="88700" y="369995"/>
                    </a:lnTo>
                    <a:cubicBezTo>
                      <a:pt x="82844" y="364194"/>
                      <a:pt x="84653" y="354399"/>
                      <a:pt x="92128" y="350976"/>
                    </a:cubicBezTo>
                    <a:cubicBezTo>
                      <a:pt x="122789" y="337092"/>
                      <a:pt x="157973" y="336379"/>
                      <a:pt x="189111" y="348884"/>
                    </a:cubicBezTo>
                    <a:close/>
                    <a:moveTo>
                      <a:pt x="257958" y="161679"/>
                    </a:moveTo>
                    <a:lnTo>
                      <a:pt x="317251" y="220879"/>
                    </a:lnTo>
                    <a:lnTo>
                      <a:pt x="388070" y="291586"/>
                    </a:lnTo>
                    <a:lnTo>
                      <a:pt x="604906" y="508130"/>
                    </a:lnTo>
                    <a:cubicBezTo>
                      <a:pt x="611097" y="514311"/>
                      <a:pt x="611097" y="524344"/>
                      <a:pt x="604906" y="530526"/>
                    </a:cubicBezTo>
                    <a:lnTo>
                      <a:pt x="556567" y="578789"/>
                    </a:lnTo>
                    <a:cubicBezTo>
                      <a:pt x="553471" y="581880"/>
                      <a:pt x="549423" y="583449"/>
                      <a:pt x="545327" y="583449"/>
                    </a:cubicBezTo>
                    <a:cubicBezTo>
                      <a:pt x="541279" y="583449"/>
                      <a:pt x="537231" y="581880"/>
                      <a:pt x="534135" y="578789"/>
                    </a:cubicBezTo>
                    <a:lnTo>
                      <a:pt x="317251" y="362293"/>
                    </a:lnTo>
                    <a:lnTo>
                      <a:pt x="246481" y="291586"/>
                    </a:lnTo>
                    <a:lnTo>
                      <a:pt x="187140" y="232339"/>
                    </a:lnTo>
                    <a:close/>
                    <a:moveTo>
                      <a:pt x="58606" y="160814"/>
                    </a:moveTo>
                    <a:lnTo>
                      <a:pt x="126401" y="228498"/>
                    </a:lnTo>
                    <a:lnTo>
                      <a:pt x="111975" y="242899"/>
                    </a:lnTo>
                    <a:lnTo>
                      <a:pt x="119307" y="250219"/>
                    </a:lnTo>
                    <a:cubicBezTo>
                      <a:pt x="126877" y="257824"/>
                      <a:pt x="126877" y="270087"/>
                      <a:pt x="119307" y="277692"/>
                    </a:cubicBezTo>
                    <a:lnTo>
                      <a:pt x="115641" y="281352"/>
                    </a:lnTo>
                    <a:cubicBezTo>
                      <a:pt x="108024" y="288909"/>
                      <a:pt x="95741" y="288909"/>
                      <a:pt x="88123" y="281352"/>
                    </a:cubicBezTo>
                    <a:lnTo>
                      <a:pt x="5712" y="199029"/>
                    </a:lnTo>
                    <a:cubicBezTo>
                      <a:pt x="-1905" y="191424"/>
                      <a:pt x="-1905" y="179161"/>
                      <a:pt x="5712" y="171604"/>
                    </a:cubicBezTo>
                    <a:lnTo>
                      <a:pt x="9378" y="167944"/>
                    </a:lnTo>
                    <a:cubicBezTo>
                      <a:pt x="16948" y="160339"/>
                      <a:pt x="29231" y="160339"/>
                      <a:pt x="36849" y="167944"/>
                    </a:cubicBezTo>
                    <a:lnTo>
                      <a:pt x="44180" y="175264"/>
                    </a:lnTo>
                    <a:close/>
                    <a:moveTo>
                      <a:pt x="585775" y="66370"/>
                    </a:moveTo>
                    <a:cubicBezTo>
                      <a:pt x="589775" y="67101"/>
                      <a:pt x="593430" y="69680"/>
                      <a:pt x="595263" y="73839"/>
                    </a:cubicBezTo>
                    <a:cubicBezTo>
                      <a:pt x="613072" y="114675"/>
                      <a:pt x="607644" y="163212"/>
                      <a:pt x="578978" y="199341"/>
                    </a:cubicBezTo>
                    <a:cubicBezTo>
                      <a:pt x="574168" y="205379"/>
                      <a:pt x="565121" y="205854"/>
                      <a:pt x="559693" y="200387"/>
                    </a:cubicBezTo>
                    <a:lnTo>
                      <a:pt x="510789" y="151612"/>
                    </a:lnTo>
                    <a:cubicBezTo>
                      <a:pt x="505742" y="146526"/>
                      <a:pt x="505742" y="138349"/>
                      <a:pt x="510789" y="133262"/>
                    </a:cubicBezTo>
                    <a:lnTo>
                      <a:pt x="574216" y="69988"/>
                    </a:lnTo>
                    <a:cubicBezTo>
                      <a:pt x="577430" y="66756"/>
                      <a:pt x="581775" y="65639"/>
                      <a:pt x="585775" y="66370"/>
                    </a:cubicBezTo>
                    <a:close/>
                    <a:moveTo>
                      <a:pt x="158702" y="26758"/>
                    </a:moveTo>
                    <a:cubicBezTo>
                      <a:pt x="163655" y="26758"/>
                      <a:pt x="168654" y="28660"/>
                      <a:pt x="172463" y="32464"/>
                    </a:cubicBezTo>
                    <a:lnTo>
                      <a:pt x="179701" y="39691"/>
                    </a:lnTo>
                    <a:lnTo>
                      <a:pt x="246935" y="106831"/>
                    </a:lnTo>
                    <a:lnTo>
                      <a:pt x="254886" y="114819"/>
                    </a:lnTo>
                    <a:cubicBezTo>
                      <a:pt x="261457" y="121334"/>
                      <a:pt x="262362" y="131414"/>
                      <a:pt x="257600" y="138879"/>
                    </a:cubicBezTo>
                    <a:cubicBezTo>
                      <a:pt x="256839" y="140068"/>
                      <a:pt x="255934" y="141209"/>
                      <a:pt x="254886" y="142255"/>
                    </a:cubicBezTo>
                    <a:lnTo>
                      <a:pt x="252315" y="144823"/>
                    </a:lnTo>
                    <a:lnTo>
                      <a:pt x="246696" y="150434"/>
                    </a:lnTo>
                    <a:lnTo>
                      <a:pt x="175892" y="221140"/>
                    </a:lnTo>
                    <a:lnTo>
                      <a:pt x="172463" y="224611"/>
                    </a:lnTo>
                    <a:cubicBezTo>
                      <a:pt x="171702" y="225324"/>
                      <a:pt x="170940" y="225990"/>
                      <a:pt x="170130" y="226560"/>
                    </a:cubicBezTo>
                    <a:cubicBezTo>
                      <a:pt x="167749" y="228319"/>
                      <a:pt x="165083" y="229413"/>
                      <a:pt x="162274" y="229936"/>
                    </a:cubicBezTo>
                    <a:cubicBezTo>
                      <a:pt x="161083" y="230174"/>
                      <a:pt x="159893" y="230269"/>
                      <a:pt x="158702" y="230269"/>
                    </a:cubicBezTo>
                    <a:cubicBezTo>
                      <a:pt x="153703" y="230269"/>
                      <a:pt x="148751" y="228367"/>
                      <a:pt x="144942" y="224611"/>
                    </a:cubicBezTo>
                    <a:lnTo>
                      <a:pt x="137609" y="217288"/>
                    </a:lnTo>
                    <a:lnTo>
                      <a:pt x="69804" y="149578"/>
                    </a:lnTo>
                    <a:lnTo>
                      <a:pt x="62519" y="142255"/>
                    </a:lnTo>
                    <a:cubicBezTo>
                      <a:pt x="54900" y="134647"/>
                      <a:pt x="54900" y="122380"/>
                      <a:pt x="62519" y="114819"/>
                    </a:cubicBezTo>
                    <a:lnTo>
                      <a:pt x="144942" y="32464"/>
                    </a:lnTo>
                    <a:cubicBezTo>
                      <a:pt x="148751" y="28660"/>
                      <a:pt x="153750" y="26758"/>
                      <a:pt x="158702" y="26758"/>
                    </a:cubicBezTo>
                    <a:close/>
                    <a:moveTo>
                      <a:pt x="254809" y="6542"/>
                    </a:moveTo>
                    <a:cubicBezTo>
                      <a:pt x="277279" y="4029"/>
                      <a:pt x="300492" y="9424"/>
                      <a:pt x="321015" y="29913"/>
                    </a:cubicBezTo>
                    <a:cubicBezTo>
                      <a:pt x="380347" y="89193"/>
                      <a:pt x="337205" y="46124"/>
                      <a:pt x="260017" y="97465"/>
                    </a:cubicBezTo>
                    <a:lnTo>
                      <a:pt x="193067" y="30626"/>
                    </a:lnTo>
                    <a:cubicBezTo>
                      <a:pt x="210614" y="19479"/>
                      <a:pt x="232340" y="9056"/>
                      <a:pt x="254809" y="6542"/>
                    </a:cubicBezTo>
                    <a:close/>
                    <a:moveTo>
                      <a:pt x="503105" y="953"/>
                    </a:moveTo>
                    <a:cubicBezTo>
                      <a:pt x="515252" y="2468"/>
                      <a:pt x="527216" y="5788"/>
                      <a:pt x="538560" y="10911"/>
                    </a:cubicBezTo>
                    <a:cubicBezTo>
                      <a:pt x="546131" y="14334"/>
                      <a:pt x="547940" y="24224"/>
                      <a:pt x="542083" y="30073"/>
                    </a:cubicBezTo>
                    <a:lnTo>
                      <a:pt x="465709" y="106341"/>
                    </a:lnTo>
                    <a:cubicBezTo>
                      <a:pt x="456424" y="115613"/>
                      <a:pt x="456424" y="130639"/>
                      <a:pt x="465709" y="139911"/>
                    </a:cubicBezTo>
                    <a:lnTo>
                      <a:pt x="542131" y="216227"/>
                    </a:lnTo>
                    <a:cubicBezTo>
                      <a:pt x="547940" y="222028"/>
                      <a:pt x="546178" y="231823"/>
                      <a:pt x="538655" y="235246"/>
                    </a:cubicBezTo>
                    <a:cubicBezTo>
                      <a:pt x="508181" y="249035"/>
                      <a:pt x="473184" y="249844"/>
                      <a:pt x="442187" y="237528"/>
                    </a:cubicBezTo>
                    <a:lnTo>
                      <a:pt x="399238" y="280370"/>
                    </a:lnTo>
                    <a:lnTo>
                      <a:pt x="328482" y="209712"/>
                    </a:lnTo>
                    <a:lnTo>
                      <a:pt x="372240" y="166015"/>
                    </a:lnTo>
                    <a:cubicBezTo>
                      <a:pt x="356051" y="122270"/>
                      <a:pt x="365527" y="71060"/>
                      <a:pt x="400571" y="36064"/>
                    </a:cubicBezTo>
                    <a:cubicBezTo>
                      <a:pt x="428569" y="8106"/>
                      <a:pt x="466664" y="-3592"/>
                      <a:pt x="503105" y="9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 dirty="0">
                  <a:ea typeface="阿里巴巴普惠体" panose="00020600040101010101" pitchFamily="18" charset="-122"/>
                </a:endParaRPr>
              </a:p>
            </p:txBody>
          </p:sp>
        </p:grpSp>
      </p:grpSp>
      <p:sp>
        <p:nvSpPr>
          <p:cNvPr id="40" name="标题 1"/>
          <p:cNvSpPr>
            <a:spLocks noGrp="1"/>
          </p:cNvSpPr>
          <p:nvPr>
            <p:ph type="title"/>
          </p:nvPr>
        </p:nvSpPr>
        <p:spPr>
          <a:xfrm>
            <a:off x="669925" y="403129"/>
            <a:ext cx="2721345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20431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287961"/>
            <a:ext cx="12192000" cy="4855664"/>
            <a:chOff x="0" y="1287961"/>
            <a:chExt cx="12192000" cy="4855664"/>
          </a:xfrm>
        </p:grpSpPr>
        <p:sp>
          <p:nvSpPr>
            <p:cNvPr id="6" name="íṥḻíḑê"/>
            <p:cNvSpPr txBox="1"/>
            <p:nvPr/>
          </p:nvSpPr>
          <p:spPr>
            <a:xfrm>
              <a:off x="673099" y="1287961"/>
              <a:ext cx="444341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t" anchorCtr="0">
              <a:normAutofit lnSpcReduction="10000"/>
            </a:bodyPr>
            <a:lstStyle/>
            <a:p>
              <a:pPr>
                <a:buSzPct val="25000"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</a:t>
              </a:r>
              <a:endParaRPr lang="de-DE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7" name="íślidé"/>
            <p:cNvSpPr txBox="1"/>
            <p:nvPr/>
          </p:nvSpPr>
          <p:spPr>
            <a:xfrm>
              <a:off x="673099" y="1680473"/>
              <a:ext cx="4443411" cy="468230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/>
            </a:bodyPr>
            <a:lstStyle/>
            <a:p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8" name="ïsḷîḍê"/>
            <p:cNvSpPr/>
            <p:nvPr/>
          </p:nvSpPr>
          <p:spPr>
            <a:xfrm rot="16200000">
              <a:off x="3246423" y="3912074"/>
              <a:ext cx="2760688" cy="979488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9" name="îṩļíďé"/>
            <p:cNvSpPr/>
            <p:nvPr/>
          </p:nvSpPr>
          <p:spPr>
            <a:xfrm rot="16200000">
              <a:off x="3535742" y="3221903"/>
              <a:ext cx="4141030" cy="979488"/>
            </a:xfrm>
            <a:prstGeom prst="homePlate">
              <a:avLst/>
            </a:prstGeom>
            <a:solidFill>
              <a:srgbClr val="C000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0" name="ï$lïḓê"/>
            <p:cNvSpPr/>
            <p:nvPr/>
          </p:nvSpPr>
          <p:spPr>
            <a:xfrm rot="16200000">
              <a:off x="4933517" y="3640189"/>
              <a:ext cx="3304458" cy="979488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1" name="ïsľide"/>
            <p:cNvSpPr/>
            <p:nvPr/>
          </p:nvSpPr>
          <p:spPr>
            <a:xfrm rot="16200000">
              <a:off x="6324320" y="4051504"/>
              <a:ext cx="2481829" cy="979488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2" name="í$ḻïde"/>
            <p:cNvSpPr/>
            <p:nvPr/>
          </p:nvSpPr>
          <p:spPr bwMode="auto">
            <a:xfrm>
              <a:off x="7378353" y="3677528"/>
              <a:ext cx="373763" cy="465566"/>
            </a:xfrm>
            <a:custGeom>
              <a:avLst/>
              <a:gdLst>
                <a:gd name="connsiteX0" fmla="*/ 79065 w 271462"/>
                <a:gd name="connsiteY0" fmla="*/ 301625 h 338138"/>
                <a:gd name="connsiteX1" fmla="*/ 69850 w 271462"/>
                <a:gd name="connsiteY1" fmla="*/ 312632 h 338138"/>
                <a:gd name="connsiteX2" fmla="*/ 79065 w 271462"/>
                <a:gd name="connsiteY2" fmla="*/ 322263 h 338138"/>
                <a:gd name="connsiteX3" fmla="*/ 114610 w 271462"/>
                <a:gd name="connsiteY3" fmla="*/ 322263 h 338138"/>
                <a:gd name="connsiteX4" fmla="*/ 123825 w 271462"/>
                <a:gd name="connsiteY4" fmla="*/ 312632 h 338138"/>
                <a:gd name="connsiteX5" fmla="*/ 114610 w 271462"/>
                <a:gd name="connsiteY5" fmla="*/ 301625 h 338138"/>
                <a:gd name="connsiteX6" fmla="*/ 79065 w 271462"/>
                <a:gd name="connsiteY6" fmla="*/ 301625 h 338138"/>
                <a:gd name="connsiteX7" fmla="*/ 166687 w 271462"/>
                <a:gd name="connsiteY7" fmla="*/ 152400 h 338138"/>
                <a:gd name="connsiteX8" fmla="*/ 166687 w 271462"/>
                <a:gd name="connsiteY8" fmla="*/ 166688 h 338138"/>
                <a:gd name="connsiteX9" fmla="*/ 171450 w 271462"/>
                <a:gd name="connsiteY9" fmla="*/ 166688 h 338138"/>
                <a:gd name="connsiteX10" fmla="*/ 171450 w 271462"/>
                <a:gd name="connsiteY10" fmla="*/ 193676 h 338138"/>
                <a:gd name="connsiteX11" fmla="*/ 166687 w 271462"/>
                <a:gd name="connsiteY11" fmla="*/ 193676 h 338138"/>
                <a:gd name="connsiteX12" fmla="*/ 166687 w 271462"/>
                <a:gd name="connsiteY12" fmla="*/ 207963 h 338138"/>
                <a:gd name="connsiteX13" fmla="*/ 193675 w 271462"/>
                <a:gd name="connsiteY13" fmla="*/ 207963 h 338138"/>
                <a:gd name="connsiteX14" fmla="*/ 193675 w 271462"/>
                <a:gd name="connsiteY14" fmla="*/ 193676 h 338138"/>
                <a:gd name="connsiteX15" fmla="*/ 190500 w 271462"/>
                <a:gd name="connsiteY15" fmla="*/ 193676 h 338138"/>
                <a:gd name="connsiteX16" fmla="*/ 190500 w 271462"/>
                <a:gd name="connsiteY16" fmla="*/ 152400 h 338138"/>
                <a:gd name="connsiteX17" fmla="*/ 179388 w 271462"/>
                <a:gd name="connsiteY17" fmla="*/ 125413 h 338138"/>
                <a:gd name="connsiteX18" fmla="*/ 168275 w 271462"/>
                <a:gd name="connsiteY18" fmla="*/ 135732 h 338138"/>
                <a:gd name="connsiteX19" fmla="*/ 179388 w 271462"/>
                <a:gd name="connsiteY19" fmla="*/ 146051 h 338138"/>
                <a:gd name="connsiteX20" fmla="*/ 190501 w 271462"/>
                <a:gd name="connsiteY20" fmla="*/ 135732 h 338138"/>
                <a:gd name="connsiteX21" fmla="*/ 179388 w 271462"/>
                <a:gd name="connsiteY21" fmla="*/ 125413 h 338138"/>
                <a:gd name="connsiteX22" fmla="*/ 180975 w 271462"/>
                <a:gd name="connsiteY22" fmla="*/ 88900 h 338138"/>
                <a:gd name="connsiteX23" fmla="*/ 271462 w 271462"/>
                <a:gd name="connsiteY23" fmla="*/ 169069 h 338138"/>
                <a:gd name="connsiteX24" fmla="*/ 180975 w 271462"/>
                <a:gd name="connsiteY24" fmla="*/ 249238 h 338138"/>
                <a:gd name="connsiteX25" fmla="*/ 131141 w 271462"/>
                <a:gd name="connsiteY25" fmla="*/ 236096 h 338138"/>
                <a:gd name="connsiteX26" fmla="*/ 97044 w 271462"/>
                <a:gd name="connsiteY26" fmla="*/ 242667 h 338138"/>
                <a:gd name="connsiteX27" fmla="*/ 95732 w 271462"/>
                <a:gd name="connsiteY27" fmla="*/ 237410 h 338138"/>
                <a:gd name="connsiteX28" fmla="*/ 110158 w 271462"/>
                <a:gd name="connsiteY28" fmla="*/ 219011 h 338138"/>
                <a:gd name="connsiteX29" fmla="*/ 90487 w 271462"/>
                <a:gd name="connsiteY29" fmla="*/ 169069 h 338138"/>
                <a:gd name="connsiteX30" fmla="*/ 180975 w 271462"/>
                <a:gd name="connsiteY30" fmla="*/ 88900 h 338138"/>
                <a:gd name="connsiteX31" fmla="*/ 37042 w 271462"/>
                <a:gd name="connsiteY31" fmla="*/ 0 h 338138"/>
                <a:gd name="connsiteX32" fmla="*/ 162719 w 271462"/>
                <a:gd name="connsiteY32" fmla="*/ 0 h 338138"/>
                <a:gd name="connsiteX33" fmla="*/ 198438 w 271462"/>
                <a:gd name="connsiteY33" fmla="*/ 38304 h 338138"/>
                <a:gd name="connsiteX34" fmla="*/ 198438 w 271462"/>
                <a:gd name="connsiteY34" fmla="*/ 67363 h 338138"/>
                <a:gd name="connsiteX35" fmla="*/ 181240 w 271462"/>
                <a:gd name="connsiteY35" fmla="*/ 66042 h 338138"/>
                <a:gd name="connsiteX36" fmla="*/ 165365 w 271462"/>
                <a:gd name="connsiteY36" fmla="*/ 67363 h 338138"/>
                <a:gd name="connsiteX37" fmla="*/ 165365 w 271462"/>
                <a:gd name="connsiteY37" fmla="*/ 51513 h 338138"/>
                <a:gd name="connsiteX38" fmla="*/ 34396 w 271462"/>
                <a:gd name="connsiteY38" fmla="*/ 51513 h 338138"/>
                <a:gd name="connsiteX39" fmla="*/ 33073 w 271462"/>
                <a:gd name="connsiteY39" fmla="*/ 51513 h 338138"/>
                <a:gd name="connsiteX40" fmla="*/ 33073 w 271462"/>
                <a:gd name="connsiteY40" fmla="*/ 286625 h 338138"/>
                <a:gd name="connsiteX41" fmla="*/ 34396 w 271462"/>
                <a:gd name="connsiteY41" fmla="*/ 286625 h 338138"/>
                <a:gd name="connsiteX42" fmla="*/ 165365 w 271462"/>
                <a:gd name="connsiteY42" fmla="*/ 286625 h 338138"/>
                <a:gd name="connsiteX43" fmla="*/ 165365 w 271462"/>
                <a:gd name="connsiteY43" fmla="*/ 270775 h 338138"/>
                <a:gd name="connsiteX44" fmla="*/ 181240 w 271462"/>
                <a:gd name="connsiteY44" fmla="*/ 272096 h 338138"/>
                <a:gd name="connsiteX45" fmla="*/ 198438 w 271462"/>
                <a:gd name="connsiteY45" fmla="*/ 270775 h 338138"/>
                <a:gd name="connsiteX46" fmla="*/ 198438 w 271462"/>
                <a:gd name="connsiteY46" fmla="*/ 299834 h 338138"/>
                <a:gd name="connsiteX47" fmla="*/ 162719 w 271462"/>
                <a:gd name="connsiteY47" fmla="*/ 338138 h 338138"/>
                <a:gd name="connsiteX48" fmla="*/ 37042 w 271462"/>
                <a:gd name="connsiteY48" fmla="*/ 338138 h 338138"/>
                <a:gd name="connsiteX49" fmla="*/ 0 w 271462"/>
                <a:gd name="connsiteY49" fmla="*/ 299834 h 338138"/>
                <a:gd name="connsiteX50" fmla="*/ 0 w 271462"/>
                <a:gd name="connsiteY50" fmla="*/ 38304 h 338138"/>
                <a:gd name="connsiteX51" fmla="*/ 37042 w 271462"/>
                <a:gd name="connsiteY51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71462" h="338138">
                  <a:moveTo>
                    <a:pt x="79065" y="301625"/>
                  </a:moveTo>
                  <a:cubicBezTo>
                    <a:pt x="73799" y="301625"/>
                    <a:pt x="69850" y="305753"/>
                    <a:pt x="69850" y="312632"/>
                  </a:cubicBezTo>
                  <a:cubicBezTo>
                    <a:pt x="69850" y="318136"/>
                    <a:pt x="73799" y="322263"/>
                    <a:pt x="79065" y="322263"/>
                  </a:cubicBezTo>
                  <a:cubicBezTo>
                    <a:pt x="79065" y="322263"/>
                    <a:pt x="79065" y="322263"/>
                    <a:pt x="114610" y="322263"/>
                  </a:cubicBezTo>
                  <a:cubicBezTo>
                    <a:pt x="119875" y="322263"/>
                    <a:pt x="123825" y="318136"/>
                    <a:pt x="123825" y="312632"/>
                  </a:cubicBezTo>
                  <a:cubicBezTo>
                    <a:pt x="123825" y="305753"/>
                    <a:pt x="119875" y="301625"/>
                    <a:pt x="114610" y="301625"/>
                  </a:cubicBezTo>
                  <a:cubicBezTo>
                    <a:pt x="114610" y="301625"/>
                    <a:pt x="114610" y="301625"/>
                    <a:pt x="79065" y="301625"/>
                  </a:cubicBezTo>
                  <a:close/>
                  <a:moveTo>
                    <a:pt x="166687" y="152400"/>
                  </a:moveTo>
                  <a:lnTo>
                    <a:pt x="166687" y="166688"/>
                  </a:lnTo>
                  <a:lnTo>
                    <a:pt x="171450" y="166688"/>
                  </a:lnTo>
                  <a:lnTo>
                    <a:pt x="171450" y="193676"/>
                  </a:lnTo>
                  <a:lnTo>
                    <a:pt x="166687" y="193676"/>
                  </a:lnTo>
                  <a:lnTo>
                    <a:pt x="166687" y="207963"/>
                  </a:lnTo>
                  <a:lnTo>
                    <a:pt x="193675" y="207963"/>
                  </a:lnTo>
                  <a:lnTo>
                    <a:pt x="193675" y="193676"/>
                  </a:lnTo>
                  <a:lnTo>
                    <a:pt x="190500" y="193676"/>
                  </a:lnTo>
                  <a:lnTo>
                    <a:pt x="190500" y="152400"/>
                  </a:lnTo>
                  <a:close/>
                  <a:moveTo>
                    <a:pt x="179388" y="125413"/>
                  </a:moveTo>
                  <a:cubicBezTo>
                    <a:pt x="173250" y="125413"/>
                    <a:pt x="168275" y="130033"/>
                    <a:pt x="168275" y="135732"/>
                  </a:cubicBezTo>
                  <a:cubicBezTo>
                    <a:pt x="168275" y="141431"/>
                    <a:pt x="173250" y="146051"/>
                    <a:pt x="179388" y="146051"/>
                  </a:cubicBezTo>
                  <a:cubicBezTo>
                    <a:pt x="185526" y="146051"/>
                    <a:pt x="190501" y="141431"/>
                    <a:pt x="190501" y="135732"/>
                  </a:cubicBezTo>
                  <a:cubicBezTo>
                    <a:pt x="190501" y="130033"/>
                    <a:pt x="185526" y="125413"/>
                    <a:pt x="179388" y="125413"/>
                  </a:cubicBezTo>
                  <a:close/>
                  <a:moveTo>
                    <a:pt x="180975" y="88900"/>
                  </a:moveTo>
                  <a:cubicBezTo>
                    <a:pt x="230808" y="88900"/>
                    <a:pt x="271462" y="124384"/>
                    <a:pt x="271462" y="169069"/>
                  </a:cubicBezTo>
                  <a:cubicBezTo>
                    <a:pt x="271462" y="212439"/>
                    <a:pt x="230808" y="249238"/>
                    <a:pt x="180975" y="249238"/>
                  </a:cubicBezTo>
                  <a:cubicBezTo>
                    <a:pt x="162614" y="249238"/>
                    <a:pt x="145566" y="243981"/>
                    <a:pt x="131141" y="236096"/>
                  </a:cubicBezTo>
                  <a:cubicBezTo>
                    <a:pt x="119338" y="243981"/>
                    <a:pt x="104912" y="242667"/>
                    <a:pt x="97044" y="242667"/>
                  </a:cubicBezTo>
                  <a:cubicBezTo>
                    <a:pt x="94421" y="241353"/>
                    <a:pt x="94421" y="238724"/>
                    <a:pt x="95732" y="237410"/>
                  </a:cubicBezTo>
                  <a:cubicBezTo>
                    <a:pt x="103601" y="232153"/>
                    <a:pt x="107535" y="225582"/>
                    <a:pt x="110158" y="219011"/>
                  </a:cubicBezTo>
                  <a:cubicBezTo>
                    <a:pt x="97044" y="205868"/>
                    <a:pt x="90487" y="187469"/>
                    <a:pt x="90487" y="169069"/>
                  </a:cubicBezTo>
                  <a:cubicBezTo>
                    <a:pt x="90487" y="124384"/>
                    <a:pt x="131141" y="88900"/>
                    <a:pt x="180975" y="88900"/>
                  </a:cubicBezTo>
                  <a:close/>
                  <a:moveTo>
                    <a:pt x="37042" y="0"/>
                  </a:moveTo>
                  <a:cubicBezTo>
                    <a:pt x="37042" y="0"/>
                    <a:pt x="37042" y="0"/>
                    <a:pt x="162719" y="0"/>
                  </a:cubicBezTo>
                  <a:cubicBezTo>
                    <a:pt x="182563" y="0"/>
                    <a:pt x="198438" y="17171"/>
                    <a:pt x="198438" y="38304"/>
                  </a:cubicBezTo>
                  <a:cubicBezTo>
                    <a:pt x="198438" y="38304"/>
                    <a:pt x="198438" y="38304"/>
                    <a:pt x="198438" y="67363"/>
                  </a:cubicBezTo>
                  <a:cubicBezTo>
                    <a:pt x="193147" y="67363"/>
                    <a:pt x="186532" y="66042"/>
                    <a:pt x="181240" y="66042"/>
                  </a:cubicBezTo>
                  <a:cubicBezTo>
                    <a:pt x="175949" y="66042"/>
                    <a:pt x="170657" y="67363"/>
                    <a:pt x="165365" y="67363"/>
                  </a:cubicBezTo>
                  <a:cubicBezTo>
                    <a:pt x="165365" y="67363"/>
                    <a:pt x="165365" y="67363"/>
                    <a:pt x="165365" y="51513"/>
                  </a:cubicBezTo>
                  <a:cubicBezTo>
                    <a:pt x="165365" y="51513"/>
                    <a:pt x="165365" y="51513"/>
                    <a:pt x="34396" y="51513"/>
                  </a:cubicBezTo>
                  <a:cubicBezTo>
                    <a:pt x="34396" y="51513"/>
                    <a:pt x="33073" y="51513"/>
                    <a:pt x="33073" y="51513"/>
                  </a:cubicBezTo>
                  <a:cubicBezTo>
                    <a:pt x="33073" y="51513"/>
                    <a:pt x="33073" y="51513"/>
                    <a:pt x="33073" y="286625"/>
                  </a:cubicBezTo>
                  <a:cubicBezTo>
                    <a:pt x="33073" y="286625"/>
                    <a:pt x="34396" y="286625"/>
                    <a:pt x="34396" y="286625"/>
                  </a:cubicBezTo>
                  <a:cubicBezTo>
                    <a:pt x="34396" y="286625"/>
                    <a:pt x="34396" y="286625"/>
                    <a:pt x="165365" y="286625"/>
                  </a:cubicBezTo>
                  <a:cubicBezTo>
                    <a:pt x="165365" y="286625"/>
                    <a:pt x="165365" y="286625"/>
                    <a:pt x="165365" y="270775"/>
                  </a:cubicBezTo>
                  <a:cubicBezTo>
                    <a:pt x="170657" y="270775"/>
                    <a:pt x="175949" y="272096"/>
                    <a:pt x="181240" y="272096"/>
                  </a:cubicBezTo>
                  <a:cubicBezTo>
                    <a:pt x="186532" y="272096"/>
                    <a:pt x="193147" y="270775"/>
                    <a:pt x="198438" y="270775"/>
                  </a:cubicBezTo>
                  <a:cubicBezTo>
                    <a:pt x="198438" y="270775"/>
                    <a:pt x="198438" y="270775"/>
                    <a:pt x="198438" y="299834"/>
                  </a:cubicBezTo>
                  <a:cubicBezTo>
                    <a:pt x="198438" y="320967"/>
                    <a:pt x="182563" y="338138"/>
                    <a:pt x="162719" y="338138"/>
                  </a:cubicBezTo>
                  <a:cubicBezTo>
                    <a:pt x="162719" y="338138"/>
                    <a:pt x="162719" y="338138"/>
                    <a:pt x="37042" y="338138"/>
                  </a:cubicBezTo>
                  <a:cubicBezTo>
                    <a:pt x="17198" y="338138"/>
                    <a:pt x="0" y="320967"/>
                    <a:pt x="0" y="299834"/>
                  </a:cubicBezTo>
                  <a:cubicBezTo>
                    <a:pt x="0" y="299834"/>
                    <a:pt x="0" y="299834"/>
                    <a:pt x="0" y="38304"/>
                  </a:cubicBezTo>
                  <a:cubicBezTo>
                    <a:pt x="0" y="17171"/>
                    <a:pt x="17198" y="0"/>
                    <a:pt x="3704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3" name="îśḻíḍê"/>
            <p:cNvSpPr/>
            <p:nvPr/>
          </p:nvSpPr>
          <p:spPr bwMode="auto">
            <a:xfrm>
              <a:off x="6367437" y="2872155"/>
              <a:ext cx="377347" cy="470030"/>
            </a:xfrm>
            <a:custGeom>
              <a:avLst/>
              <a:gdLst>
                <a:gd name="connsiteX0" fmla="*/ 79065 w 271462"/>
                <a:gd name="connsiteY0" fmla="*/ 301625 h 338138"/>
                <a:gd name="connsiteX1" fmla="*/ 69850 w 271462"/>
                <a:gd name="connsiteY1" fmla="*/ 312632 h 338138"/>
                <a:gd name="connsiteX2" fmla="*/ 79065 w 271462"/>
                <a:gd name="connsiteY2" fmla="*/ 322263 h 338138"/>
                <a:gd name="connsiteX3" fmla="*/ 114610 w 271462"/>
                <a:gd name="connsiteY3" fmla="*/ 322263 h 338138"/>
                <a:gd name="connsiteX4" fmla="*/ 123825 w 271462"/>
                <a:gd name="connsiteY4" fmla="*/ 312632 h 338138"/>
                <a:gd name="connsiteX5" fmla="*/ 114610 w 271462"/>
                <a:gd name="connsiteY5" fmla="*/ 301625 h 338138"/>
                <a:gd name="connsiteX6" fmla="*/ 79065 w 271462"/>
                <a:gd name="connsiteY6" fmla="*/ 301625 h 338138"/>
                <a:gd name="connsiteX7" fmla="*/ 166687 w 271462"/>
                <a:gd name="connsiteY7" fmla="*/ 152400 h 338138"/>
                <a:gd name="connsiteX8" fmla="*/ 166687 w 271462"/>
                <a:gd name="connsiteY8" fmla="*/ 166688 h 338138"/>
                <a:gd name="connsiteX9" fmla="*/ 171450 w 271462"/>
                <a:gd name="connsiteY9" fmla="*/ 166688 h 338138"/>
                <a:gd name="connsiteX10" fmla="*/ 171450 w 271462"/>
                <a:gd name="connsiteY10" fmla="*/ 193676 h 338138"/>
                <a:gd name="connsiteX11" fmla="*/ 166687 w 271462"/>
                <a:gd name="connsiteY11" fmla="*/ 193676 h 338138"/>
                <a:gd name="connsiteX12" fmla="*/ 166687 w 271462"/>
                <a:gd name="connsiteY12" fmla="*/ 207963 h 338138"/>
                <a:gd name="connsiteX13" fmla="*/ 193675 w 271462"/>
                <a:gd name="connsiteY13" fmla="*/ 207963 h 338138"/>
                <a:gd name="connsiteX14" fmla="*/ 193675 w 271462"/>
                <a:gd name="connsiteY14" fmla="*/ 193676 h 338138"/>
                <a:gd name="connsiteX15" fmla="*/ 190500 w 271462"/>
                <a:gd name="connsiteY15" fmla="*/ 193676 h 338138"/>
                <a:gd name="connsiteX16" fmla="*/ 190500 w 271462"/>
                <a:gd name="connsiteY16" fmla="*/ 152400 h 338138"/>
                <a:gd name="connsiteX17" fmla="*/ 179388 w 271462"/>
                <a:gd name="connsiteY17" fmla="*/ 125413 h 338138"/>
                <a:gd name="connsiteX18" fmla="*/ 168275 w 271462"/>
                <a:gd name="connsiteY18" fmla="*/ 135732 h 338138"/>
                <a:gd name="connsiteX19" fmla="*/ 179388 w 271462"/>
                <a:gd name="connsiteY19" fmla="*/ 146051 h 338138"/>
                <a:gd name="connsiteX20" fmla="*/ 190501 w 271462"/>
                <a:gd name="connsiteY20" fmla="*/ 135732 h 338138"/>
                <a:gd name="connsiteX21" fmla="*/ 179388 w 271462"/>
                <a:gd name="connsiteY21" fmla="*/ 125413 h 338138"/>
                <a:gd name="connsiteX22" fmla="*/ 180975 w 271462"/>
                <a:gd name="connsiteY22" fmla="*/ 88900 h 338138"/>
                <a:gd name="connsiteX23" fmla="*/ 271462 w 271462"/>
                <a:gd name="connsiteY23" fmla="*/ 169069 h 338138"/>
                <a:gd name="connsiteX24" fmla="*/ 180975 w 271462"/>
                <a:gd name="connsiteY24" fmla="*/ 249238 h 338138"/>
                <a:gd name="connsiteX25" fmla="*/ 131141 w 271462"/>
                <a:gd name="connsiteY25" fmla="*/ 236096 h 338138"/>
                <a:gd name="connsiteX26" fmla="*/ 97044 w 271462"/>
                <a:gd name="connsiteY26" fmla="*/ 242667 h 338138"/>
                <a:gd name="connsiteX27" fmla="*/ 95732 w 271462"/>
                <a:gd name="connsiteY27" fmla="*/ 237410 h 338138"/>
                <a:gd name="connsiteX28" fmla="*/ 110158 w 271462"/>
                <a:gd name="connsiteY28" fmla="*/ 219011 h 338138"/>
                <a:gd name="connsiteX29" fmla="*/ 90487 w 271462"/>
                <a:gd name="connsiteY29" fmla="*/ 169069 h 338138"/>
                <a:gd name="connsiteX30" fmla="*/ 180975 w 271462"/>
                <a:gd name="connsiteY30" fmla="*/ 88900 h 338138"/>
                <a:gd name="connsiteX31" fmla="*/ 37042 w 271462"/>
                <a:gd name="connsiteY31" fmla="*/ 0 h 338138"/>
                <a:gd name="connsiteX32" fmla="*/ 162719 w 271462"/>
                <a:gd name="connsiteY32" fmla="*/ 0 h 338138"/>
                <a:gd name="connsiteX33" fmla="*/ 198438 w 271462"/>
                <a:gd name="connsiteY33" fmla="*/ 38304 h 338138"/>
                <a:gd name="connsiteX34" fmla="*/ 198438 w 271462"/>
                <a:gd name="connsiteY34" fmla="*/ 67363 h 338138"/>
                <a:gd name="connsiteX35" fmla="*/ 181240 w 271462"/>
                <a:gd name="connsiteY35" fmla="*/ 66042 h 338138"/>
                <a:gd name="connsiteX36" fmla="*/ 165365 w 271462"/>
                <a:gd name="connsiteY36" fmla="*/ 67363 h 338138"/>
                <a:gd name="connsiteX37" fmla="*/ 165365 w 271462"/>
                <a:gd name="connsiteY37" fmla="*/ 51513 h 338138"/>
                <a:gd name="connsiteX38" fmla="*/ 34396 w 271462"/>
                <a:gd name="connsiteY38" fmla="*/ 51513 h 338138"/>
                <a:gd name="connsiteX39" fmla="*/ 33073 w 271462"/>
                <a:gd name="connsiteY39" fmla="*/ 51513 h 338138"/>
                <a:gd name="connsiteX40" fmla="*/ 33073 w 271462"/>
                <a:gd name="connsiteY40" fmla="*/ 286625 h 338138"/>
                <a:gd name="connsiteX41" fmla="*/ 34396 w 271462"/>
                <a:gd name="connsiteY41" fmla="*/ 286625 h 338138"/>
                <a:gd name="connsiteX42" fmla="*/ 165365 w 271462"/>
                <a:gd name="connsiteY42" fmla="*/ 286625 h 338138"/>
                <a:gd name="connsiteX43" fmla="*/ 165365 w 271462"/>
                <a:gd name="connsiteY43" fmla="*/ 270775 h 338138"/>
                <a:gd name="connsiteX44" fmla="*/ 181240 w 271462"/>
                <a:gd name="connsiteY44" fmla="*/ 272096 h 338138"/>
                <a:gd name="connsiteX45" fmla="*/ 198438 w 271462"/>
                <a:gd name="connsiteY45" fmla="*/ 270775 h 338138"/>
                <a:gd name="connsiteX46" fmla="*/ 198438 w 271462"/>
                <a:gd name="connsiteY46" fmla="*/ 299834 h 338138"/>
                <a:gd name="connsiteX47" fmla="*/ 162719 w 271462"/>
                <a:gd name="connsiteY47" fmla="*/ 338138 h 338138"/>
                <a:gd name="connsiteX48" fmla="*/ 37042 w 271462"/>
                <a:gd name="connsiteY48" fmla="*/ 338138 h 338138"/>
                <a:gd name="connsiteX49" fmla="*/ 0 w 271462"/>
                <a:gd name="connsiteY49" fmla="*/ 299834 h 338138"/>
                <a:gd name="connsiteX50" fmla="*/ 0 w 271462"/>
                <a:gd name="connsiteY50" fmla="*/ 38304 h 338138"/>
                <a:gd name="connsiteX51" fmla="*/ 37042 w 271462"/>
                <a:gd name="connsiteY51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71462" h="338138">
                  <a:moveTo>
                    <a:pt x="79065" y="301625"/>
                  </a:moveTo>
                  <a:cubicBezTo>
                    <a:pt x="73799" y="301625"/>
                    <a:pt x="69850" y="305753"/>
                    <a:pt x="69850" y="312632"/>
                  </a:cubicBezTo>
                  <a:cubicBezTo>
                    <a:pt x="69850" y="318136"/>
                    <a:pt x="73799" y="322263"/>
                    <a:pt x="79065" y="322263"/>
                  </a:cubicBezTo>
                  <a:cubicBezTo>
                    <a:pt x="79065" y="322263"/>
                    <a:pt x="79065" y="322263"/>
                    <a:pt x="114610" y="322263"/>
                  </a:cubicBezTo>
                  <a:cubicBezTo>
                    <a:pt x="119875" y="322263"/>
                    <a:pt x="123825" y="318136"/>
                    <a:pt x="123825" y="312632"/>
                  </a:cubicBezTo>
                  <a:cubicBezTo>
                    <a:pt x="123825" y="305753"/>
                    <a:pt x="119875" y="301625"/>
                    <a:pt x="114610" y="301625"/>
                  </a:cubicBezTo>
                  <a:cubicBezTo>
                    <a:pt x="114610" y="301625"/>
                    <a:pt x="114610" y="301625"/>
                    <a:pt x="79065" y="301625"/>
                  </a:cubicBezTo>
                  <a:close/>
                  <a:moveTo>
                    <a:pt x="166687" y="152400"/>
                  </a:moveTo>
                  <a:lnTo>
                    <a:pt x="166687" y="166688"/>
                  </a:lnTo>
                  <a:lnTo>
                    <a:pt x="171450" y="166688"/>
                  </a:lnTo>
                  <a:lnTo>
                    <a:pt x="171450" y="193676"/>
                  </a:lnTo>
                  <a:lnTo>
                    <a:pt x="166687" y="193676"/>
                  </a:lnTo>
                  <a:lnTo>
                    <a:pt x="166687" y="207963"/>
                  </a:lnTo>
                  <a:lnTo>
                    <a:pt x="193675" y="207963"/>
                  </a:lnTo>
                  <a:lnTo>
                    <a:pt x="193675" y="193676"/>
                  </a:lnTo>
                  <a:lnTo>
                    <a:pt x="190500" y="193676"/>
                  </a:lnTo>
                  <a:lnTo>
                    <a:pt x="190500" y="152400"/>
                  </a:lnTo>
                  <a:close/>
                  <a:moveTo>
                    <a:pt x="179388" y="125413"/>
                  </a:moveTo>
                  <a:cubicBezTo>
                    <a:pt x="173250" y="125413"/>
                    <a:pt x="168275" y="130033"/>
                    <a:pt x="168275" y="135732"/>
                  </a:cubicBezTo>
                  <a:cubicBezTo>
                    <a:pt x="168275" y="141431"/>
                    <a:pt x="173250" y="146051"/>
                    <a:pt x="179388" y="146051"/>
                  </a:cubicBezTo>
                  <a:cubicBezTo>
                    <a:pt x="185526" y="146051"/>
                    <a:pt x="190501" y="141431"/>
                    <a:pt x="190501" y="135732"/>
                  </a:cubicBezTo>
                  <a:cubicBezTo>
                    <a:pt x="190501" y="130033"/>
                    <a:pt x="185526" y="125413"/>
                    <a:pt x="179388" y="125413"/>
                  </a:cubicBezTo>
                  <a:close/>
                  <a:moveTo>
                    <a:pt x="180975" y="88900"/>
                  </a:moveTo>
                  <a:cubicBezTo>
                    <a:pt x="230808" y="88900"/>
                    <a:pt x="271462" y="124384"/>
                    <a:pt x="271462" y="169069"/>
                  </a:cubicBezTo>
                  <a:cubicBezTo>
                    <a:pt x="271462" y="212439"/>
                    <a:pt x="230808" y="249238"/>
                    <a:pt x="180975" y="249238"/>
                  </a:cubicBezTo>
                  <a:cubicBezTo>
                    <a:pt x="162614" y="249238"/>
                    <a:pt x="145566" y="243981"/>
                    <a:pt x="131141" y="236096"/>
                  </a:cubicBezTo>
                  <a:cubicBezTo>
                    <a:pt x="119338" y="243981"/>
                    <a:pt x="104912" y="242667"/>
                    <a:pt x="97044" y="242667"/>
                  </a:cubicBezTo>
                  <a:cubicBezTo>
                    <a:pt x="94421" y="241353"/>
                    <a:pt x="94421" y="238724"/>
                    <a:pt x="95732" y="237410"/>
                  </a:cubicBezTo>
                  <a:cubicBezTo>
                    <a:pt x="103601" y="232153"/>
                    <a:pt x="107535" y="225582"/>
                    <a:pt x="110158" y="219011"/>
                  </a:cubicBezTo>
                  <a:cubicBezTo>
                    <a:pt x="97044" y="205868"/>
                    <a:pt x="90487" y="187469"/>
                    <a:pt x="90487" y="169069"/>
                  </a:cubicBezTo>
                  <a:cubicBezTo>
                    <a:pt x="90487" y="124384"/>
                    <a:pt x="131141" y="88900"/>
                    <a:pt x="180975" y="88900"/>
                  </a:cubicBezTo>
                  <a:close/>
                  <a:moveTo>
                    <a:pt x="37042" y="0"/>
                  </a:moveTo>
                  <a:cubicBezTo>
                    <a:pt x="37042" y="0"/>
                    <a:pt x="37042" y="0"/>
                    <a:pt x="162719" y="0"/>
                  </a:cubicBezTo>
                  <a:cubicBezTo>
                    <a:pt x="182563" y="0"/>
                    <a:pt x="198438" y="17171"/>
                    <a:pt x="198438" y="38304"/>
                  </a:cubicBezTo>
                  <a:cubicBezTo>
                    <a:pt x="198438" y="38304"/>
                    <a:pt x="198438" y="38304"/>
                    <a:pt x="198438" y="67363"/>
                  </a:cubicBezTo>
                  <a:cubicBezTo>
                    <a:pt x="193147" y="67363"/>
                    <a:pt x="186532" y="66042"/>
                    <a:pt x="181240" y="66042"/>
                  </a:cubicBezTo>
                  <a:cubicBezTo>
                    <a:pt x="175949" y="66042"/>
                    <a:pt x="170657" y="67363"/>
                    <a:pt x="165365" y="67363"/>
                  </a:cubicBezTo>
                  <a:cubicBezTo>
                    <a:pt x="165365" y="67363"/>
                    <a:pt x="165365" y="67363"/>
                    <a:pt x="165365" y="51513"/>
                  </a:cubicBezTo>
                  <a:cubicBezTo>
                    <a:pt x="165365" y="51513"/>
                    <a:pt x="165365" y="51513"/>
                    <a:pt x="34396" y="51513"/>
                  </a:cubicBezTo>
                  <a:cubicBezTo>
                    <a:pt x="34396" y="51513"/>
                    <a:pt x="33073" y="51513"/>
                    <a:pt x="33073" y="51513"/>
                  </a:cubicBezTo>
                  <a:cubicBezTo>
                    <a:pt x="33073" y="51513"/>
                    <a:pt x="33073" y="51513"/>
                    <a:pt x="33073" y="286625"/>
                  </a:cubicBezTo>
                  <a:cubicBezTo>
                    <a:pt x="33073" y="286625"/>
                    <a:pt x="34396" y="286625"/>
                    <a:pt x="34396" y="286625"/>
                  </a:cubicBezTo>
                  <a:cubicBezTo>
                    <a:pt x="34396" y="286625"/>
                    <a:pt x="34396" y="286625"/>
                    <a:pt x="165365" y="286625"/>
                  </a:cubicBezTo>
                  <a:cubicBezTo>
                    <a:pt x="165365" y="286625"/>
                    <a:pt x="165365" y="286625"/>
                    <a:pt x="165365" y="270775"/>
                  </a:cubicBezTo>
                  <a:cubicBezTo>
                    <a:pt x="170657" y="270775"/>
                    <a:pt x="175949" y="272096"/>
                    <a:pt x="181240" y="272096"/>
                  </a:cubicBezTo>
                  <a:cubicBezTo>
                    <a:pt x="186532" y="272096"/>
                    <a:pt x="193147" y="270775"/>
                    <a:pt x="198438" y="270775"/>
                  </a:cubicBezTo>
                  <a:cubicBezTo>
                    <a:pt x="198438" y="270775"/>
                    <a:pt x="198438" y="270775"/>
                    <a:pt x="198438" y="299834"/>
                  </a:cubicBezTo>
                  <a:cubicBezTo>
                    <a:pt x="198438" y="320967"/>
                    <a:pt x="182563" y="338138"/>
                    <a:pt x="162719" y="338138"/>
                  </a:cubicBezTo>
                  <a:cubicBezTo>
                    <a:pt x="162719" y="338138"/>
                    <a:pt x="162719" y="338138"/>
                    <a:pt x="37042" y="338138"/>
                  </a:cubicBezTo>
                  <a:cubicBezTo>
                    <a:pt x="17198" y="338138"/>
                    <a:pt x="0" y="320967"/>
                    <a:pt x="0" y="299834"/>
                  </a:cubicBezTo>
                  <a:cubicBezTo>
                    <a:pt x="0" y="299834"/>
                    <a:pt x="0" y="299834"/>
                    <a:pt x="0" y="38304"/>
                  </a:cubicBezTo>
                  <a:cubicBezTo>
                    <a:pt x="0" y="17171"/>
                    <a:pt x="17198" y="0"/>
                    <a:pt x="3704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4" name="ïṡļiḋé"/>
            <p:cNvSpPr/>
            <p:nvPr/>
          </p:nvSpPr>
          <p:spPr bwMode="auto">
            <a:xfrm>
              <a:off x="4410036" y="3356814"/>
              <a:ext cx="402291" cy="501102"/>
            </a:xfrm>
            <a:custGeom>
              <a:avLst/>
              <a:gdLst>
                <a:gd name="connsiteX0" fmla="*/ 79065 w 271462"/>
                <a:gd name="connsiteY0" fmla="*/ 301625 h 338138"/>
                <a:gd name="connsiteX1" fmla="*/ 69850 w 271462"/>
                <a:gd name="connsiteY1" fmla="*/ 312632 h 338138"/>
                <a:gd name="connsiteX2" fmla="*/ 79065 w 271462"/>
                <a:gd name="connsiteY2" fmla="*/ 322263 h 338138"/>
                <a:gd name="connsiteX3" fmla="*/ 114610 w 271462"/>
                <a:gd name="connsiteY3" fmla="*/ 322263 h 338138"/>
                <a:gd name="connsiteX4" fmla="*/ 123825 w 271462"/>
                <a:gd name="connsiteY4" fmla="*/ 312632 h 338138"/>
                <a:gd name="connsiteX5" fmla="*/ 114610 w 271462"/>
                <a:gd name="connsiteY5" fmla="*/ 301625 h 338138"/>
                <a:gd name="connsiteX6" fmla="*/ 79065 w 271462"/>
                <a:gd name="connsiteY6" fmla="*/ 301625 h 338138"/>
                <a:gd name="connsiteX7" fmla="*/ 166687 w 271462"/>
                <a:gd name="connsiteY7" fmla="*/ 152400 h 338138"/>
                <a:gd name="connsiteX8" fmla="*/ 166687 w 271462"/>
                <a:gd name="connsiteY8" fmla="*/ 166688 h 338138"/>
                <a:gd name="connsiteX9" fmla="*/ 171450 w 271462"/>
                <a:gd name="connsiteY9" fmla="*/ 166688 h 338138"/>
                <a:gd name="connsiteX10" fmla="*/ 171450 w 271462"/>
                <a:gd name="connsiteY10" fmla="*/ 193676 h 338138"/>
                <a:gd name="connsiteX11" fmla="*/ 166687 w 271462"/>
                <a:gd name="connsiteY11" fmla="*/ 193676 h 338138"/>
                <a:gd name="connsiteX12" fmla="*/ 166687 w 271462"/>
                <a:gd name="connsiteY12" fmla="*/ 207963 h 338138"/>
                <a:gd name="connsiteX13" fmla="*/ 193675 w 271462"/>
                <a:gd name="connsiteY13" fmla="*/ 207963 h 338138"/>
                <a:gd name="connsiteX14" fmla="*/ 193675 w 271462"/>
                <a:gd name="connsiteY14" fmla="*/ 193676 h 338138"/>
                <a:gd name="connsiteX15" fmla="*/ 190500 w 271462"/>
                <a:gd name="connsiteY15" fmla="*/ 193676 h 338138"/>
                <a:gd name="connsiteX16" fmla="*/ 190500 w 271462"/>
                <a:gd name="connsiteY16" fmla="*/ 152400 h 338138"/>
                <a:gd name="connsiteX17" fmla="*/ 179388 w 271462"/>
                <a:gd name="connsiteY17" fmla="*/ 125413 h 338138"/>
                <a:gd name="connsiteX18" fmla="*/ 168275 w 271462"/>
                <a:gd name="connsiteY18" fmla="*/ 135732 h 338138"/>
                <a:gd name="connsiteX19" fmla="*/ 179388 w 271462"/>
                <a:gd name="connsiteY19" fmla="*/ 146051 h 338138"/>
                <a:gd name="connsiteX20" fmla="*/ 190501 w 271462"/>
                <a:gd name="connsiteY20" fmla="*/ 135732 h 338138"/>
                <a:gd name="connsiteX21" fmla="*/ 179388 w 271462"/>
                <a:gd name="connsiteY21" fmla="*/ 125413 h 338138"/>
                <a:gd name="connsiteX22" fmla="*/ 180975 w 271462"/>
                <a:gd name="connsiteY22" fmla="*/ 88900 h 338138"/>
                <a:gd name="connsiteX23" fmla="*/ 271462 w 271462"/>
                <a:gd name="connsiteY23" fmla="*/ 169069 h 338138"/>
                <a:gd name="connsiteX24" fmla="*/ 180975 w 271462"/>
                <a:gd name="connsiteY24" fmla="*/ 249238 h 338138"/>
                <a:gd name="connsiteX25" fmla="*/ 131141 w 271462"/>
                <a:gd name="connsiteY25" fmla="*/ 236096 h 338138"/>
                <a:gd name="connsiteX26" fmla="*/ 97044 w 271462"/>
                <a:gd name="connsiteY26" fmla="*/ 242667 h 338138"/>
                <a:gd name="connsiteX27" fmla="*/ 95732 w 271462"/>
                <a:gd name="connsiteY27" fmla="*/ 237410 h 338138"/>
                <a:gd name="connsiteX28" fmla="*/ 110158 w 271462"/>
                <a:gd name="connsiteY28" fmla="*/ 219011 h 338138"/>
                <a:gd name="connsiteX29" fmla="*/ 90487 w 271462"/>
                <a:gd name="connsiteY29" fmla="*/ 169069 h 338138"/>
                <a:gd name="connsiteX30" fmla="*/ 180975 w 271462"/>
                <a:gd name="connsiteY30" fmla="*/ 88900 h 338138"/>
                <a:gd name="connsiteX31" fmla="*/ 37042 w 271462"/>
                <a:gd name="connsiteY31" fmla="*/ 0 h 338138"/>
                <a:gd name="connsiteX32" fmla="*/ 162719 w 271462"/>
                <a:gd name="connsiteY32" fmla="*/ 0 h 338138"/>
                <a:gd name="connsiteX33" fmla="*/ 198438 w 271462"/>
                <a:gd name="connsiteY33" fmla="*/ 38304 h 338138"/>
                <a:gd name="connsiteX34" fmla="*/ 198438 w 271462"/>
                <a:gd name="connsiteY34" fmla="*/ 67363 h 338138"/>
                <a:gd name="connsiteX35" fmla="*/ 181240 w 271462"/>
                <a:gd name="connsiteY35" fmla="*/ 66042 h 338138"/>
                <a:gd name="connsiteX36" fmla="*/ 165365 w 271462"/>
                <a:gd name="connsiteY36" fmla="*/ 67363 h 338138"/>
                <a:gd name="connsiteX37" fmla="*/ 165365 w 271462"/>
                <a:gd name="connsiteY37" fmla="*/ 51513 h 338138"/>
                <a:gd name="connsiteX38" fmla="*/ 34396 w 271462"/>
                <a:gd name="connsiteY38" fmla="*/ 51513 h 338138"/>
                <a:gd name="connsiteX39" fmla="*/ 33073 w 271462"/>
                <a:gd name="connsiteY39" fmla="*/ 51513 h 338138"/>
                <a:gd name="connsiteX40" fmla="*/ 33073 w 271462"/>
                <a:gd name="connsiteY40" fmla="*/ 286625 h 338138"/>
                <a:gd name="connsiteX41" fmla="*/ 34396 w 271462"/>
                <a:gd name="connsiteY41" fmla="*/ 286625 h 338138"/>
                <a:gd name="connsiteX42" fmla="*/ 165365 w 271462"/>
                <a:gd name="connsiteY42" fmla="*/ 286625 h 338138"/>
                <a:gd name="connsiteX43" fmla="*/ 165365 w 271462"/>
                <a:gd name="connsiteY43" fmla="*/ 270775 h 338138"/>
                <a:gd name="connsiteX44" fmla="*/ 181240 w 271462"/>
                <a:gd name="connsiteY44" fmla="*/ 272096 h 338138"/>
                <a:gd name="connsiteX45" fmla="*/ 198438 w 271462"/>
                <a:gd name="connsiteY45" fmla="*/ 270775 h 338138"/>
                <a:gd name="connsiteX46" fmla="*/ 198438 w 271462"/>
                <a:gd name="connsiteY46" fmla="*/ 299834 h 338138"/>
                <a:gd name="connsiteX47" fmla="*/ 162719 w 271462"/>
                <a:gd name="connsiteY47" fmla="*/ 338138 h 338138"/>
                <a:gd name="connsiteX48" fmla="*/ 37042 w 271462"/>
                <a:gd name="connsiteY48" fmla="*/ 338138 h 338138"/>
                <a:gd name="connsiteX49" fmla="*/ 0 w 271462"/>
                <a:gd name="connsiteY49" fmla="*/ 299834 h 338138"/>
                <a:gd name="connsiteX50" fmla="*/ 0 w 271462"/>
                <a:gd name="connsiteY50" fmla="*/ 38304 h 338138"/>
                <a:gd name="connsiteX51" fmla="*/ 37042 w 271462"/>
                <a:gd name="connsiteY51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71462" h="338138">
                  <a:moveTo>
                    <a:pt x="79065" y="301625"/>
                  </a:moveTo>
                  <a:cubicBezTo>
                    <a:pt x="73799" y="301625"/>
                    <a:pt x="69850" y="305753"/>
                    <a:pt x="69850" y="312632"/>
                  </a:cubicBezTo>
                  <a:cubicBezTo>
                    <a:pt x="69850" y="318136"/>
                    <a:pt x="73799" y="322263"/>
                    <a:pt x="79065" y="322263"/>
                  </a:cubicBezTo>
                  <a:cubicBezTo>
                    <a:pt x="79065" y="322263"/>
                    <a:pt x="79065" y="322263"/>
                    <a:pt x="114610" y="322263"/>
                  </a:cubicBezTo>
                  <a:cubicBezTo>
                    <a:pt x="119875" y="322263"/>
                    <a:pt x="123825" y="318136"/>
                    <a:pt x="123825" y="312632"/>
                  </a:cubicBezTo>
                  <a:cubicBezTo>
                    <a:pt x="123825" y="305753"/>
                    <a:pt x="119875" y="301625"/>
                    <a:pt x="114610" y="301625"/>
                  </a:cubicBezTo>
                  <a:cubicBezTo>
                    <a:pt x="114610" y="301625"/>
                    <a:pt x="114610" y="301625"/>
                    <a:pt x="79065" y="301625"/>
                  </a:cubicBezTo>
                  <a:close/>
                  <a:moveTo>
                    <a:pt x="166687" y="152400"/>
                  </a:moveTo>
                  <a:lnTo>
                    <a:pt x="166687" y="166688"/>
                  </a:lnTo>
                  <a:lnTo>
                    <a:pt x="171450" y="166688"/>
                  </a:lnTo>
                  <a:lnTo>
                    <a:pt x="171450" y="193676"/>
                  </a:lnTo>
                  <a:lnTo>
                    <a:pt x="166687" y="193676"/>
                  </a:lnTo>
                  <a:lnTo>
                    <a:pt x="166687" y="207963"/>
                  </a:lnTo>
                  <a:lnTo>
                    <a:pt x="193675" y="207963"/>
                  </a:lnTo>
                  <a:lnTo>
                    <a:pt x="193675" y="193676"/>
                  </a:lnTo>
                  <a:lnTo>
                    <a:pt x="190500" y="193676"/>
                  </a:lnTo>
                  <a:lnTo>
                    <a:pt x="190500" y="152400"/>
                  </a:lnTo>
                  <a:close/>
                  <a:moveTo>
                    <a:pt x="179388" y="125413"/>
                  </a:moveTo>
                  <a:cubicBezTo>
                    <a:pt x="173250" y="125413"/>
                    <a:pt x="168275" y="130033"/>
                    <a:pt x="168275" y="135732"/>
                  </a:cubicBezTo>
                  <a:cubicBezTo>
                    <a:pt x="168275" y="141431"/>
                    <a:pt x="173250" y="146051"/>
                    <a:pt x="179388" y="146051"/>
                  </a:cubicBezTo>
                  <a:cubicBezTo>
                    <a:pt x="185526" y="146051"/>
                    <a:pt x="190501" y="141431"/>
                    <a:pt x="190501" y="135732"/>
                  </a:cubicBezTo>
                  <a:cubicBezTo>
                    <a:pt x="190501" y="130033"/>
                    <a:pt x="185526" y="125413"/>
                    <a:pt x="179388" y="125413"/>
                  </a:cubicBezTo>
                  <a:close/>
                  <a:moveTo>
                    <a:pt x="180975" y="88900"/>
                  </a:moveTo>
                  <a:cubicBezTo>
                    <a:pt x="230808" y="88900"/>
                    <a:pt x="271462" y="124384"/>
                    <a:pt x="271462" y="169069"/>
                  </a:cubicBezTo>
                  <a:cubicBezTo>
                    <a:pt x="271462" y="212439"/>
                    <a:pt x="230808" y="249238"/>
                    <a:pt x="180975" y="249238"/>
                  </a:cubicBezTo>
                  <a:cubicBezTo>
                    <a:pt x="162614" y="249238"/>
                    <a:pt x="145566" y="243981"/>
                    <a:pt x="131141" y="236096"/>
                  </a:cubicBezTo>
                  <a:cubicBezTo>
                    <a:pt x="119338" y="243981"/>
                    <a:pt x="104912" y="242667"/>
                    <a:pt x="97044" y="242667"/>
                  </a:cubicBezTo>
                  <a:cubicBezTo>
                    <a:pt x="94421" y="241353"/>
                    <a:pt x="94421" y="238724"/>
                    <a:pt x="95732" y="237410"/>
                  </a:cubicBezTo>
                  <a:cubicBezTo>
                    <a:pt x="103601" y="232153"/>
                    <a:pt x="107535" y="225582"/>
                    <a:pt x="110158" y="219011"/>
                  </a:cubicBezTo>
                  <a:cubicBezTo>
                    <a:pt x="97044" y="205868"/>
                    <a:pt x="90487" y="187469"/>
                    <a:pt x="90487" y="169069"/>
                  </a:cubicBezTo>
                  <a:cubicBezTo>
                    <a:pt x="90487" y="124384"/>
                    <a:pt x="131141" y="88900"/>
                    <a:pt x="180975" y="88900"/>
                  </a:cubicBezTo>
                  <a:close/>
                  <a:moveTo>
                    <a:pt x="37042" y="0"/>
                  </a:moveTo>
                  <a:cubicBezTo>
                    <a:pt x="37042" y="0"/>
                    <a:pt x="37042" y="0"/>
                    <a:pt x="162719" y="0"/>
                  </a:cubicBezTo>
                  <a:cubicBezTo>
                    <a:pt x="182563" y="0"/>
                    <a:pt x="198438" y="17171"/>
                    <a:pt x="198438" y="38304"/>
                  </a:cubicBezTo>
                  <a:cubicBezTo>
                    <a:pt x="198438" y="38304"/>
                    <a:pt x="198438" y="38304"/>
                    <a:pt x="198438" y="67363"/>
                  </a:cubicBezTo>
                  <a:cubicBezTo>
                    <a:pt x="193147" y="67363"/>
                    <a:pt x="186532" y="66042"/>
                    <a:pt x="181240" y="66042"/>
                  </a:cubicBezTo>
                  <a:cubicBezTo>
                    <a:pt x="175949" y="66042"/>
                    <a:pt x="170657" y="67363"/>
                    <a:pt x="165365" y="67363"/>
                  </a:cubicBezTo>
                  <a:cubicBezTo>
                    <a:pt x="165365" y="67363"/>
                    <a:pt x="165365" y="67363"/>
                    <a:pt x="165365" y="51513"/>
                  </a:cubicBezTo>
                  <a:cubicBezTo>
                    <a:pt x="165365" y="51513"/>
                    <a:pt x="165365" y="51513"/>
                    <a:pt x="34396" y="51513"/>
                  </a:cubicBezTo>
                  <a:cubicBezTo>
                    <a:pt x="34396" y="51513"/>
                    <a:pt x="33073" y="51513"/>
                    <a:pt x="33073" y="51513"/>
                  </a:cubicBezTo>
                  <a:cubicBezTo>
                    <a:pt x="33073" y="51513"/>
                    <a:pt x="33073" y="51513"/>
                    <a:pt x="33073" y="286625"/>
                  </a:cubicBezTo>
                  <a:cubicBezTo>
                    <a:pt x="33073" y="286625"/>
                    <a:pt x="34396" y="286625"/>
                    <a:pt x="34396" y="286625"/>
                  </a:cubicBezTo>
                  <a:cubicBezTo>
                    <a:pt x="34396" y="286625"/>
                    <a:pt x="34396" y="286625"/>
                    <a:pt x="165365" y="286625"/>
                  </a:cubicBezTo>
                  <a:cubicBezTo>
                    <a:pt x="165365" y="286625"/>
                    <a:pt x="165365" y="286625"/>
                    <a:pt x="165365" y="270775"/>
                  </a:cubicBezTo>
                  <a:cubicBezTo>
                    <a:pt x="170657" y="270775"/>
                    <a:pt x="175949" y="272096"/>
                    <a:pt x="181240" y="272096"/>
                  </a:cubicBezTo>
                  <a:cubicBezTo>
                    <a:pt x="186532" y="272096"/>
                    <a:pt x="193147" y="270775"/>
                    <a:pt x="198438" y="270775"/>
                  </a:cubicBezTo>
                  <a:cubicBezTo>
                    <a:pt x="198438" y="270775"/>
                    <a:pt x="198438" y="270775"/>
                    <a:pt x="198438" y="299834"/>
                  </a:cubicBezTo>
                  <a:cubicBezTo>
                    <a:pt x="198438" y="320967"/>
                    <a:pt x="182563" y="338138"/>
                    <a:pt x="162719" y="338138"/>
                  </a:cubicBezTo>
                  <a:cubicBezTo>
                    <a:pt x="162719" y="338138"/>
                    <a:pt x="162719" y="338138"/>
                    <a:pt x="37042" y="338138"/>
                  </a:cubicBezTo>
                  <a:cubicBezTo>
                    <a:pt x="17198" y="338138"/>
                    <a:pt x="0" y="320967"/>
                    <a:pt x="0" y="299834"/>
                  </a:cubicBezTo>
                  <a:cubicBezTo>
                    <a:pt x="0" y="299834"/>
                    <a:pt x="0" y="299834"/>
                    <a:pt x="0" y="38304"/>
                  </a:cubicBezTo>
                  <a:cubicBezTo>
                    <a:pt x="0" y="17171"/>
                    <a:pt x="17198" y="0"/>
                    <a:pt x="3704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5" name="î$ļiḍè"/>
            <p:cNvSpPr/>
            <p:nvPr/>
          </p:nvSpPr>
          <p:spPr bwMode="auto">
            <a:xfrm>
              <a:off x="5412095" y="1984697"/>
              <a:ext cx="388325" cy="483705"/>
            </a:xfrm>
            <a:custGeom>
              <a:avLst/>
              <a:gdLst>
                <a:gd name="connsiteX0" fmla="*/ 79065 w 271462"/>
                <a:gd name="connsiteY0" fmla="*/ 301625 h 338138"/>
                <a:gd name="connsiteX1" fmla="*/ 69850 w 271462"/>
                <a:gd name="connsiteY1" fmla="*/ 312632 h 338138"/>
                <a:gd name="connsiteX2" fmla="*/ 79065 w 271462"/>
                <a:gd name="connsiteY2" fmla="*/ 322263 h 338138"/>
                <a:gd name="connsiteX3" fmla="*/ 114610 w 271462"/>
                <a:gd name="connsiteY3" fmla="*/ 322263 h 338138"/>
                <a:gd name="connsiteX4" fmla="*/ 123825 w 271462"/>
                <a:gd name="connsiteY4" fmla="*/ 312632 h 338138"/>
                <a:gd name="connsiteX5" fmla="*/ 114610 w 271462"/>
                <a:gd name="connsiteY5" fmla="*/ 301625 h 338138"/>
                <a:gd name="connsiteX6" fmla="*/ 79065 w 271462"/>
                <a:gd name="connsiteY6" fmla="*/ 301625 h 338138"/>
                <a:gd name="connsiteX7" fmla="*/ 166687 w 271462"/>
                <a:gd name="connsiteY7" fmla="*/ 152400 h 338138"/>
                <a:gd name="connsiteX8" fmla="*/ 166687 w 271462"/>
                <a:gd name="connsiteY8" fmla="*/ 166688 h 338138"/>
                <a:gd name="connsiteX9" fmla="*/ 171450 w 271462"/>
                <a:gd name="connsiteY9" fmla="*/ 166688 h 338138"/>
                <a:gd name="connsiteX10" fmla="*/ 171450 w 271462"/>
                <a:gd name="connsiteY10" fmla="*/ 193676 h 338138"/>
                <a:gd name="connsiteX11" fmla="*/ 166687 w 271462"/>
                <a:gd name="connsiteY11" fmla="*/ 193676 h 338138"/>
                <a:gd name="connsiteX12" fmla="*/ 166687 w 271462"/>
                <a:gd name="connsiteY12" fmla="*/ 207963 h 338138"/>
                <a:gd name="connsiteX13" fmla="*/ 193675 w 271462"/>
                <a:gd name="connsiteY13" fmla="*/ 207963 h 338138"/>
                <a:gd name="connsiteX14" fmla="*/ 193675 w 271462"/>
                <a:gd name="connsiteY14" fmla="*/ 193676 h 338138"/>
                <a:gd name="connsiteX15" fmla="*/ 190500 w 271462"/>
                <a:gd name="connsiteY15" fmla="*/ 193676 h 338138"/>
                <a:gd name="connsiteX16" fmla="*/ 190500 w 271462"/>
                <a:gd name="connsiteY16" fmla="*/ 152400 h 338138"/>
                <a:gd name="connsiteX17" fmla="*/ 179388 w 271462"/>
                <a:gd name="connsiteY17" fmla="*/ 125413 h 338138"/>
                <a:gd name="connsiteX18" fmla="*/ 168275 w 271462"/>
                <a:gd name="connsiteY18" fmla="*/ 135732 h 338138"/>
                <a:gd name="connsiteX19" fmla="*/ 179388 w 271462"/>
                <a:gd name="connsiteY19" fmla="*/ 146051 h 338138"/>
                <a:gd name="connsiteX20" fmla="*/ 190501 w 271462"/>
                <a:gd name="connsiteY20" fmla="*/ 135732 h 338138"/>
                <a:gd name="connsiteX21" fmla="*/ 179388 w 271462"/>
                <a:gd name="connsiteY21" fmla="*/ 125413 h 338138"/>
                <a:gd name="connsiteX22" fmla="*/ 180975 w 271462"/>
                <a:gd name="connsiteY22" fmla="*/ 88900 h 338138"/>
                <a:gd name="connsiteX23" fmla="*/ 271462 w 271462"/>
                <a:gd name="connsiteY23" fmla="*/ 169069 h 338138"/>
                <a:gd name="connsiteX24" fmla="*/ 180975 w 271462"/>
                <a:gd name="connsiteY24" fmla="*/ 249238 h 338138"/>
                <a:gd name="connsiteX25" fmla="*/ 131141 w 271462"/>
                <a:gd name="connsiteY25" fmla="*/ 236096 h 338138"/>
                <a:gd name="connsiteX26" fmla="*/ 97044 w 271462"/>
                <a:gd name="connsiteY26" fmla="*/ 242667 h 338138"/>
                <a:gd name="connsiteX27" fmla="*/ 95732 w 271462"/>
                <a:gd name="connsiteY27" fmla="*/ 237410 h 338138"/>
                <a:gd name="connsiteX28" fmla="*/ 110158 w 271462"/>
                <a:gd name="connsiteY28" fmla="*/ 219011 h 338138"/>
                <a:gd name="connsiteX29" fmla="*/ 90487 w 271462"/>
                <a:gd name="connsiteY29" fmla="*/ 169069 h 338138"/>
                <a:gd name="connsiteX30" fmla="*/ 180975 w 271462"/>
                <a:gd name="connsiteY30" fmla="*/ 88900 h 338138"/>
                <a:gd name="connsiteX31" fmla="*/ 37042 w 271462"/>
                <a:gd name="connsiteY31" fmla="*/ 0 h 338138"/>
                <a:gd name="connsiteX32" fmla="*/ 162719 w 271462"/>
                <a:gd name="connsiteY32" fmla="*/ 0 h 338138"/>
                <a:gd name="connsiteX33" fmla="*/ 198438 w 271462"/>
                <a:gd name="connsiteY33" fmla="*/ 38304 h 338138"/>
                <a:gd name="connsiteX34" fmla="*/ 198438 w 271462"/>
                <a:gd name="connsiteY34" fmla="*/ 67363 h 338138"/>
                <a:gd name="connsiteX35" fmla="*/ 181240 w 271462"/>
                <a:gd name="connsiteY35" fmla="*/ 66042 h 338138"/>
                <a:gd name="connsiteX36" fmla="*/ 165365 w 271462"/>
                <a:gd name="connsiteY36" fmla="*/ 67363 h 338138"/>
                <a:gd name="connsiteX37" fmla="*/ 165365 w 271462"/>
                <a:gd name="connsiteY37" fmla="*/ 51513 h 338138"/>
                <a:gd name="connsiteX38" fmla="*/ 34396 w 271462"/>
                <a:gd name="connsiteY38" fmla="*/ 51513 h 338138"/>
                <a:gd name="connsiteX39" fmla="*/ 33073 w 271462"/>
                <a:gd name="connsiteY39" fmla="*/ 51513 h 338138"/>
                <a:gd name="connsiteX40" fmla="*/ 33073 w 271462"/>
                <a:gd name="connsiteY40" fmla="*/ 286625 h 338138"/>
                <a:gd name="connsiteX41" fmla="*/ 34396 w 271462"/>
                <a:gd name="connsiteY41" fmla="*/ 286625 h 338138"/>
                <a:gd name="connsiteX42" fmla="*/ 165365 w 271462"/>
                <a:gd name="connsiteY42" fmla="*/ 286625 h 338138"/>
                <a:gd name="connsiteX43" fmla="*/ 165365 w 271462"/>
                <a:gd name="connsiteY43" fmla="*/ 270775 h 338138"/>
                <a:gd name="connsiteX44" fmla="*/ 181240 w 271462"/>
                <a:gd name="connsiteY44" fmla="*/ 272096 h 338138"/>
                <a:gd name="connsiteX45" fmla="*/ 198438 w 271462"/>
                <a:gd name="connsiteY45" fmla="*/ 270775 h 338138"/>
                <a:gd name="connsiteX46" fmla="*/ 198438 w 271462"/>
                <a:gd name="connsiteY46" fmla="*/ 299834 h 338138"/>
                <a:gd name="connsiteX47" fmla="*/ 162719 w 271462"/>
                <a:gd name="connsiteY47" fmla="*/ 338138 h 338138"/>
                <a:gd name="connsiteX48" fmla="*/ 37042 w 271462"/>
                <a:gd name="connsiteY48" fmla="*/ 338138 h 338138"/>
                <a:gd name="connsiteX49" fmla="*/ 0 w 271462"/>
                <a:gd name="connsiteY49" fmla="*/ 299834 h 338138"/>
                <a:gd name="connsiteX50" fmla="*/ 0 w 271462"/>
                <a:gd name="connsiteY50" fmla="*/ 38304 h 338138"/>
                <a:gd name="connsiteX51" fmla="*/ 37042 w 271462"/>
                <a:gd name="connsiteY51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71462" h="338138">
                  <a:moveTo>
                    <a:pt x="79065" y="301625"/>
                  </a:moveTo>
                  <a:cubicBezTo>
                    <a:pt x="73799" y="301625"/>
                    <a:pt x="69850" y="305753"/>
                    <a:pt x="69850" y="312632"/>
                  </a:cubicBezTo>
                  <a:cubicBezTo>
                    <a:pt x="69850" y="318136"/>
                    <a:pt x="73799" y="322263"/>
                    <a:pt x="79065" y="322263"/>
                  </a:cubicBezTo>
                  <a:cubicBezTo>
                    <a:pt x="79065" y="322263"/>
                    <a:pt x="79065" y="322263"/>
                    <a:pt x="114610" y="322263"/>
                  </a:cubicBezTo>
                  <a:cubicBezTo>
                    <a:pt x="119875" y="322263"/>
                    <a:pt x="123825" y="318136"/>
                    <a:pt x="123825" y="312632"/>
                  </a:cubicBezTo>
                  <a:cubicBezTo>
                    <a:pt x="123825" y="305753"/>
                    <a:pt x="119875" y="301625"/>
                    <a:pt x="114610" y="301625"/>
                  </a:cubicBezTo>
                  <a:cubicBezTo>
                    <a:pt x="114610" y="301625"/>
                    <a:pt x="114610" y="301625"/>
                    <a:pt x="79065" y="301625"/>
                  </a:cubicBezTo>
                  <a:close/>
                  <a:moveTo>
                    <a:pt x="166687" y="152400"/>
                  </a:moveTo>
                  <a:lnTo>
                    <a:pt x="166687" y="166688"/>
                  </a:lnTo>
                  <a:lnTo>
                    <a:pt x="171450" y="166688"/>
                  </a:lnTo>
                  <a:lnTo>
                    <a:pt x="171450" y="193676"/>
                  </a:lnTo>
                  <a:lnTo>
                    <a:pt x="166687" y="193676"/>
                  </a:lnTo>
                  <a:lnTo>
                    <a:pt x="166687" y="207963"/>
                  </a:lnTo>
                  <a:lnTo>
                    <a:pt x="193675" y="207963"/>
                  </a:lnTo>
                  <a:lnTo>
                    <a:pt x="193675" y="193676"/>
                  </a:lnTo>
                  <a:lnTo>
                    <a:pt x="190500" y="193676"/>
                  </a:lnTo>
                  <a:lnTo>
                    <a:pt x="190500" y="152400"/>
                  </a:lnTo>
                  <a:close/>
                  <a:moveTo>
                    <a:pt x="179388" y="125413"/>
                  </a:moveTo>
                  <a:cubicBezTo>
                    <a:pt x="173250" y="125413"/>
                    <a:pt x="168275" y="130033"/>
                    <a:pt x="168275" y="135732"/>
                  </a:cubicBezTo>
                  <a:cubicBezTo>
                    <a:pt x="168275" y="141431"/>
                    <a:pt x="173250" y="146051"/>
                    <a:pt x="179388" y="146051"/>
                  </a:cubicBezTo>
                  <a:cubicBezTo>
                    <a:pt x="185526" y="146051"/>
                    <a:pt x="190501" y="141431"/>
                    <a:pt x="190501" y="135732"/>
                  </a:cubicBezTo>
                  <a:cubicBezTo>
                    <a:pt x="190501" y="130033"/>
                    <a:pt x="185526" y="125413"/>
                    <a:pt x="179388" y="125413"/>
                  </a:cubicBezTo>
                  <a:close/>
                  <a:moveTo>
                    <a:pt x="180975" y="88900"/>
                  </a:moveTo>
                  <a:cubicBezTo>
                    <a:pt x="230808" y="88900"/>
                    <a:pt x="271462" y="124384"/>
                    <a:pt x="271462" y="169069"/>
                  </a:cubicBezTo>
                  <a:cubicBezTo>
                    <a:pt x="271462" y="212439"/>
                    <a:pt x="230808" y="249238"/>
                    <a:pt x="180975" y="249238"/>
                  </a:cubicBezTo>
                  <a:cubicBezTo>
                    <a:pt x="162614" y="249238"/>
                    <a:pt x="145566" y="243981"/>
                    <a:pt x="131141" y="236096"/>
                  </a:cubicBezTo>
                  <a:cubicBezTo>
                    <a:pt x="119338" y="243981"/>
                    <a:pt x="104912" y="242667"/>
                    <a:pt x="97044" y="242667"/>
                  </a:cubicBezTo>
                  <a:cubicBezTo>
                    <a:pt x="94421" y="241353"/>
                    <a:pt x="94421" y="238724"/>
                    <a:pt x="95732" y="237410"/>
                  </a:cubicBezTo>
                  <a:cubicBezTo>
                    <a:pt x="103601" y="232153"/>
                    <a:pt x="107535" y="225582"/>
                    <a:pt x="110158" y="219011"/>
                  </a:cubicBezTo>
                  <a:cubicBezTo>
                    <a:pt x="97044" y="205868"/>
                    <a:pt x="90487" y="187469"/>
                    <a:pt x="90487" y="169069"/>
                  </a:cubicBezTo>
                  <a:cubicBezTo>
                    <a:pt x="90487" y="124384"/>
                    <a:pt x="131141" y="88900"/>
                    <a:pt x="180975" y="88900"/>
                  </a:cubicBezTo>
                  <a:close/>
                  <a:moveTo>
                    <a:pt x="37042" y="0"/>
                  </a:moveTo>
                  <a:cubicBezTo>
                    <a:pt x="37042" y="0"/>
                    <a:pt x="37042" y="0"/>
                    <a:pt x="162719" y="0"/>
                  </a:cubicBezTo>
                  <a:cubicBezTo>
                    <a:pt x="182563" y="0"/>
                    <a:pt x="198438" y="17171"/>
                    <a:pt x="198438" y="38304"/>
                  </a:cubicBezTo>
                  <a:cubicBezTo>
                    <a:pt x="198438" y="38304"/>
                    <a:pt x="198438" y="38304"/>
                    <a:pt x="198438" y="67363"/>
                  </a:cubicBezTo>
                  <a:cubicBezTo>
                    <a:pt x="193147" y="67363"/>
                    <a:pt x="186532" y="66042"/>
                    <a:pt x="181240" y="66042"/>
                  </a:cubicBezTo>
                  <a:cubicBezTo>
                    <a:pt x="175949" y="66042"/>
                    <a:pt x="170657" y="67363"/>
                    <a:pt x="165365" y="67363"/>
                  </a:cubicBezTo>
                  <a:cubicBezTo>
                    <a:pt x="165365" y="67363"/>
                    <a:pt x="165365" y="67363"/>
                    <a:pt x="165365" y="51513"/>
                  </a:cubicBezTo>
                  <a:cubicBezTo>
                    <a:pt x="165365" y="51513"/>
                    <a:pt x="165365" y="51513"/>
                    <a:pt x="34396" y="51513"/>
                  </a:cubicBezTo>
                  <a:cubicBezTo>
                    <a:pt x="34396" y="51513"/>
                    <a:pt x="33073" y="51513"/>
                    <a:pt x="33073" y="51513"/>
                  </a:cubicBezTo>
                  <a:cubicBezTo>
                    <a:pt x="33073" y="51513"/>
                    <a:pt x="33073" y="51513"/>
                    <a:pt x="33073" y="286625"/>
                  </a:cubicBezTo>
                  <a:cubicBezTo>
                    <a:pt x="33073" y="286625"/>
                    <a:pt x="34396" y="286625"/>
                    <a:pt x="34396" y="286625"/>
                  </a:cubicBezTo>
                  <a:cubicBezTo>
                    <a:pt x="34396" y="286625"/>
                    <a:pt x="34396" y="286625"/>
                    <a:pt x="165365" y="286625"/>
                  </a:cubicBezTo>
                  <a:cubicBezTo>
                    <a:pt x="165365" y="286625"/>
                    <a:pt x="165365" y="286625"/>
                    <a:pt x="165365" y="270775"/>
                  </a:cubicBezTo>
                  <a:cubicBezTo>
                    <a:pt x="170657" y="270775"/>
                    <a:pt x="175949" y="272096"/>
                    <a:pt x="181240" y="272096"/>
                  </a:cubicBezTo>
                  <a:cubicBezTo>
                    <a:pt x="186532" y="272096"/>
                    <a:pt x="193147" y="270775"/>
                    <a:pt x="198438" y="270775"/>
                  </a:cubicBezTo>
                  <a:cubicBezTo>
                    <a:pt x="198438" y="270775"/>
                    <a:pt x="198438" y="270775"/>
                    <a:pt x="198438" y="299834"/>
                  </a:cubicBezTo>
                  <a:cubicBezTo>
                    <a:pt x="198438" y="320967"/>
                    <a:pt x="182563" y="338138"/>
                    <a:pt x="162719" y="338138"/>
                  </a:cubicBezTo>
                  <a:cubicBezTo>
                    <a:pt x="162719" y="338138"/>
                    <a:pt x="162719" y="338138"/>
                    <a:pt x="37042" y="338138"/>
                  </a:cubicBezTo>
                  <a:cubicBezTo>
                    <a:pt x="17198" y="338138"/>
                    <a:pt x="0" y="320967"/>
                    <a:pt x="0" y="299834"/>
                  </a:cubicBezTo>
                  <a:cubicBezTo>
                    <a:pt x="0" y="299834"/>
                    <a:pt x="0" y="299834"/>
                    <a:pt x="0" y="38304"/>
                  </a:cubicBezTo>
                  <a:cubicBezTo>
                    <a:pt x="0" y="17171"/>
                    <a:pt x="17198" y="0"/>
                    <a:pt x="3704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ea typeface="阿里巴巴普惠体" panose="00020600040101010101" pitchFamily="18" charset="-122"/>
              </a:endParaRPr>
            </a:p>
          </p:txBody>
        </p:sp>
        <p:sp>
          <p:nvSpPr>
            <p:cNvPr id="16" name="îṣļídê"/>
            <p:cNvSpPr/>
            <p:nvPr/>
          </p:nvSpPr>
          <p:spPr bwMode="auto">
            <a:xfrm>
              <a:off x="0" y="5744857"/>
              <a:ext cx="12192000" cy="39876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dist">
                <a:spcBef>
                  <a:spcPct val="0"/>
                </a:spcBef>
              </a:pPr>
              <a:r>
                <a:rPr lang="en-US" altLang="zh-CN" sz="1600" dirty="0">
                  <a:solidFill>
                    <a:schemeClr val="bg1"/>
                  </a:solidFill>
                  <a:ea typeface="阿里巴巴普惠体" panose="00020600040101010101" pitchFamily="18" charset="-122"/>
                </a:rPr>
                <a:t>315</a:t>
              </a:r>
              <a:r>
                <a:rPr lang="zh-CN" altLang="en-US" sz="1600" dirty="0">
                  <a:solidFill>
                    <a:schemeClr val="bg1"/>
                  </a:solidFill>
                  <a:ea typeface="阿里巴巴普惠体" panose="00020600040101010101" pitchFamily="18" charset="-122"/>
                </a:rPr>
                <a:t>为我的权益做主</a:t>
              </a:r>
              <a:endParaRPr lang="en-US" altLang="zh-CN" sz="1600" dirty="0">
                <a:solidFill>
                  <a:schemeClr val="bg1"/>
                </a:solidFill>
                <a:ea typeface="阿里巴巴普惠体" panose="00020600040101010101" pitchFamily="18" charset="-122"/>
              </a:endParaRPr>
            </a:p>
          </p:txBody>
        </p:sp>
        <p:cxnSp>
          <p:nvCxnSpPr>
            <p:cNvPr id="17" name="直接连接符 16"/>
            <p:cNvCxnSpPr/>
            <p:nvPr/>
          </p:nvCxnSpPr>
          <p:spPr>
            <a:xfrm flipH="1">
              <a:off x="669925" y="2169000"/>
              <a:ext cx="444658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/>
          </p:nvCxnSpPr>
          <p:spPr>
            <a:xfrm flipH="1">
              <a:off x="669925" y="3519000"/>
              <a:ext cx="3401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íšḻïḍe"/>
            <p:cNvSpPr txBox="1"/>
            <p:nvPr/>
          </p:nvSpPr>
          <p:spPr>
            <a:xfrm>
              <a:off x="673099" y="3580277"/>
              <a:ext cx="339790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t" anchorCtr="0">
              <a:normAutofit lnSpcReduction="10000"/>
            </a:bodyPr>
            <a:lstStyle/>
            <a:p>
              <a:pPr>
                <a:buSzPct val="25000"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</a:t>
              </a:r>
              <a:endParaRPr lang="de-DE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20" name="ïšľîḓé"/>
            <p:cNvSpPr txBox="1"/>
            <p:nvPr/>
          </p:nvSpPr>
          <p:spPr>
            <a:xfrm>
              <a:off x="673099" y="3972788"/>
              <a:ext cx="3397901" cy="612659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 lnSpcReduction="10000"/>
            </a:bodyPr>
            <a:lstStyle/>
            <a:p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sp>
          <p:nvSpPr>
            <p:cNvPr id="21" name="ïṩḷíďè"/>
            <p:cNvSpPr txBox="1"/>
            <p:nvPr/>
          </p:nvSpPr>
          <p:spPr>
            <a:xfrm>
              <a:off x="8131512" y="3906290"/>
              <a:ext cx="3397901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t" anchorCtr="0">
              <a:normAutofit lnSpcReduction="10000"/>
            </a:bodyPr>
            <a:lstStyle/>
            <a:p>
              <a:pPr algn="r">
                <a:buSzPct val="25000"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</a:t>
              </a:r>
              <a:endParaRPr lang="de-DE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22" name="íṧḻîḍê"/>
            <p:cNvSpPr txBox="1"/>
            <p:nvPr/>
          </p:nvSpPr>
          <p:spPr>
            <a:xfrm>
              <a:off x="8131512" y="4298801"/>
              <a:ext cx="3397901" cy="612659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 lnSpcReduction="10000"/>
            </a:bodyPr>
            <a:lstStyle/>
            <a:p>
              <a:pPr algn="r"/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  <p:cxnSp>
          <p:nvCxnSpPr>
            <p:cNvPr id="23" name="直接连接符 22"/>
            <p:cNvCxnSpPr/>
            <p:nvPr/>
          </p:nvCxnSpPr>
          <p:spPr>
            <a:xfrm>
              <a:off x="8054979" y="3819816"/>
              <a:ext cx="346550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/>
          </p:nvCxnSpPr>
          <p:spPr>
            <a:xfrm>
              <a:off x="7131000" y="3021473"/>
              <a:ext cx="438948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ísḷîdè"/>
            <p:cNvSpPr txBox="1"/>
            <p:nvPr/>
          </p:nvSpPr>
          <p:spPr>
            <a:xfrm>
              <a:off x="7139926" y="2107395"/>
              <a:ext cx="4389487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 anchor="t" anchorCtr="0">
              <a:normAutofit lnSpcReduction="10000"/>
            </a:bodyPr>
            <a:lstStyle/>
            <a:p>
              <a:pPr algn="r">
                <a:buSzPct val="25000"/>
              </a:pPr>
              <a:r>
                <a:rPr lang="zh-CN" altLang="en-US" sz="2000" b="1" dirty="0">
                  <a:ea typeface="阿里巴巴普惠体" panose="00020600040101010101" pitchFamily="18" charset="-122"/>
                </a:rPr>
                <a:t>添加标题</a:t>
              </a:r>
              <a:endParaRPr lang="de-DE" altLang="zh-CN" sz="2000" b="1" dirty="0">
                <a:ea typeface="阿里巴巴普惠体" panose="00020600040101010101" pitchFamily="18" charset="-122"/>
              </a:endParaRPr>
            </a:p>
          </p:txBody>
        </p:sp>
        <p:sp>
          <p:nvSpPr>
            <p:cNvPr id="26" name="ísliďé"/>
            <p:cNvSpPr txBox="1"/>
            <p:nvPr/>
          </p:nvSpPr>
          <p:spPr>
            <a:xfrm>
              <a:off x="7139926" y="2499906"/>
              <a:ext cx="4389487" cy="443319"/>
            </a:xfrm>
            <a:prstGeom prst="rect">
              <a:avLst/>
            </a:prstGeom>
            <a:noFill/>
            <a:ln>
              <a:noFill/>
            </a:ln>
          </p:spPr>
          <p:txBody>
            <a:bodyPr lIns="91440" tIns="45720" rIns="91440" bIns="45720" anchor="t" anchorCtr="0">
              <a:normAutofit lnSpcReduction="10000"/>
            </a:bodyPr>
            <a:lstStyle/>
            <a:p>
              <a:pPr algn="r"/>
              <a:r>
                <a:rPr lang="zh-CN" altLang="en-US" sz="1200" dirty="0">
                  <a:latin typeface="阿里巴巴普惠体" panose="00020600040101010101" pitchFamily="18" charset="-122"/>
                  <a:ea typeface="阿里巴巴普惠体" panose="00020600040101010101" pitchFamily="18" charset="-122"/>
                  <a:cs typeface="阿里巴巴普惠体" panose="00020600040101010101" pitchFamily="18" charset="-122"/>
                </a:rPr>
                <a:t>点击输入您的内容，或者通过复制您的文本后，在此框中选择复制粘贴，请言简意赅，简单说明即可，不必繁琐。</a:t>
              </a:r>
            </a:p>
          </p:txBody>
        </p:sp>
      </p:grpSp>
      <p:sp>
        <p:nvSpPr>
          <p:cNvPr id="27" name="标题 1"/>
          <p:cNvSpPr>
            <a:spLocks noGrp="1"/>
          </p:cNvSpPr>
          <p:nvPr>
            <p:ph type="title"/>
          </p:nvPr>
        </p:nvSpPr>
        <p:spPr>
          <a:xfrm>
            <a:off x="669925" y="412007"/>
            <a:ext cx="2534914" cy="579119"/>
          </a:xfrm>
          <a:solidFill>
            <a:srgbClr val="C00000"/>
          </a:solidFill>
        </p:spPr>
        <p:txBody>
          <a:bodyPr>
            <a:noAutofit/>
          </a:bodyPr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阿里巴巴普惠体 R" panose="00020600040101010101" pitchFamily="18" charset="-122"/>
                <a:ea typeface="阿里巴巴普惠体 R" panose="00020600040101010101" pitchFamily="18" charset="-122"/>
                <a:cs typeface="阿里巴巴普惠体 R" panose="00020600040101010101" pitchFamily="18" charset="-122"/>
              </a:rPr>
              <a:t>添加标题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43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368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94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3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7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9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30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15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31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30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74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429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2784"/>
</p:tagLst>
</file>

<file path=ppt/theme/theme1.xml><?xml version="1.0" encoding="utf-8"?>
<a:theme xmlns:a="http://schemas.openxmlformats.org/drawingml/2006/main" name="办公资源网：www.bangongziyuan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96</Words>
  <Application>Microsoft Office PowerPoint</Application>
  <PresentationFormat>宽屏</PresentationFormat>
  <Paragraphs>178</Paragraphs>
  <Slides>2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8" baseType="lpstr">
      <vt:lpstr>阿里巴巴普惠体</vt:lpstr>
      <vt:lpstr>阿里巴巴普惠体 B</vt:lpstr>
      <vt:lpstr>阿里巴巴普惠体 R</vt:lpstr>
      <vt:lpstr>Arial</vt:lpstr>
      <vt:lpstr>Calibri</vt:lpstr>
      <vt:lpstr>Impact</vt:lpstr>
      <vt:lpstr>办公资源网：www.bangongziyuan.com</vt:lpstr>
      <vt:lpstr>think-cell Slide</vt:lpstr>
      <vt:lpstr>PowerPoint 演示文稿</vt:lpstr>
      <vt:lpstr>PowerPoint 演示文稿</vt:lpstr>
      <vt:lpstr>PowerPoint 演示文稿</vt:lpstr>
      <vt:lpstr>添加标题</vt:lpstr>
      <vt:lpstr>添加标题</vt:lpstr>
      <vt:lpstr>添加标题</vt:lpstr>
      <vt:lpstr>PowerPoint 演示文稿</vt:lpstr>
      <vt:lpstr>添加标题</vt:lpstr>
      <vt:lpstr>添加标题</vt:lpstr>
      <vt:lpstr>添加标题</vt:lpstr>
      <vt:lpstr>PowerPoint 演示文稿</vt:lpstr>
      <vt:lpstr>添加标题</vt:lpstr>
      <vt:lpstr>添加标题</vt:lpstr>
      <vt:lpstr>PowerPoint 演示文稿</vt:lpstr>
      <vt:lpstr>添加标题</vt:lpstr>
      <vt:lpstr>PowerPoint 演示文稿</vt:lpstr>
      <vt:lpstr>PowerPoint 演示文稿</vt:lpstr>
      <vt:lpstr>PowerPoint 演示文稿</vt:lpstr>
      <vt:lpstr>PowerPoint 演示文稿</vt:lpstr>
      <vt:lpstr>Thanks 315为我的权益做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/>
  <cp:lastModifiedBy>天 下</cp:lastModifiedBy>
  <cp:revision>17</cp:revision>
  <dcterms:created xsi:type="dcterms:W3CDTF">2020-03-31T01:49:00Z</dcterms:created>
  <dcterms:modified xsi:type="dcterms:W3CDTF">2021-01-05T05:4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22</vt:lpwstr>
  </property>
</Properties>
</file>